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12"/>
  </p:notesMasterIdLst>
  <p:handoutMasterIdLst>
    <p:handoutMasterId r:id="rId13"/>
  </p:handoutMasterIdLst>
  <p:sldIdLst>
    <p:sldId id="301" r:id="rId5"/>
    <p:sldId id="273" r:id="rId6"/>
    <p:sldId id="299" r:id="rId7"/>
    <p:sldId id="300" r:id="rId8"/>
    <p:sldId id="305" r:id="rId9"/>
    <p:sldId id="955" r:id="rId10"/>
    <p:sldId id="303" r:id="rId11"/>
  </p:sldIdLst>
  <p:sldSz cx="12192000" cy="6858000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52" autoAdjust="0"/>
    <p:restoredTop sz="96201" autoAdjust="0"/>
  </p:normalViewPr>
  <p:slideViewPr>
    <p:cSldViewPr snapToObjects="1">
      <p:cViewPr varScale="1">
        <p:scale>
          <a:sx n="119" d="100"/>
          <a:sy n="119" d="100"/>
        </p:scale>
        <p:origin x="132" y="25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75" d="100"/>
          <a:sy n="75" d="100"/>
        </p:scale>
        <p:origin x="3168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CE2879F-85E3-496B-8667-A4EA32411BE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 bwMode="black">
          <a:xfrm>
            <a:off x="1614671" y="9262661"/>
            <a:ext cx="3568333" cy="39081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/>
            </a:lvl1pPr>
          </a:lstStyle>
          <a:p>
            <a:pPr algn="ctr"/>
            <a:r>
              <a:rPr lang="en-GB" sz="1100" dirty="0"/>
              <a:t>confidential, internal, open | Author | Presentation Topic | Dat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50349B1-E56A-42C1-B0A4-26B687F2FBA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 bwMode="black">
          <a:xfrm>
            <a:off x="6039404" y="9262661"/>
            <a:ext cx="285467" cy="39081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pPr algn="l"/>
            <a:fld id="{6F450DBC-90BB-49B2-91E4-AABCC1357725}" type="slidenum">
              <a:rPr lang="de-DE" sz="900" smtClean="0"/>
              <a:pPr algn="l"/>
              <a:t>‹#›</a:t>
            </a:fld>
            <a:endParaRPr lang="de-DE" sz="90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4E2A2C4-9FAC-4DAF-8CF2-98D0ADF211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63456"/>
          <a:stretch/>
        </p:blipFill>
        <p:spPr bwMode="black">
          <a:xfrm>
            <a:off x="384820" y="9211948"/>
            <a:ext cx="682820" cy="492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3042720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pos="299" userDrawn="1">
          <p15:clr>
            <a:srgbClr val="F26B43"/>
          </p15:clr>
        </p15:guide>
        <p15:guide id="2" pos="3981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306388" y="976313"/>
            <a:ext cx="3830637" cy="21558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black">
          <a:xfrm>
            <a:off x="472804" y="3556395"/>
            <a:ext cx="5846516" cy="5129415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/>
              <a:t>Click to edit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  <a:p>
            <a:pPr lvl="8"/>
            <a:endParaRPr lang="en-GB"/>
          </a:p>
          <a:p>
            <a:pPr lvl="4"/>
            <a:endParaRPr lang="en-GB" dirty="0"/>
          </a:p>
        </p:txBody>
      </p:sp>
      <p:sp>
        <p:nvSpPr>
          <p:cNvPr id="7" name="Fußzeilenplatzhalter 3">
            <a:extLst>
              <a:ext uri="{FF2B5EF4-FFF2-40B4-BE49-F238E27FC236}">
                <a16:creationId xmlns:a16="http://schemas.microsoft.com/office/drawing/2014/main" id="{95981BBF-A3AF-4657-B40E-0C891992F7E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 bwMode="black">
          <a:xfrm>
            <a:off x="1614671" y="9262256"/>
            <a:ext cx="3568333" cy="39081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/>
            </a:lvl1pPr>
          </a:lstStyle>
          <a:p>
            <a:pPr algn="ctr"/>
            <a:r>
              <a:rPr lang="en-GB" sz="1100" dirty="0"/>
              <a:t>confidential, internal, open | Author | Presentation Topic | Date</a:t>
            </a:r>
          </a:p>
        </p:txBody>
      </p:sp>
      <p:sp>
        <p:nvSpPr>
          <p:cNvPr id="8" name="Foliennummernplatzhalter 4">
            <a:extLst>
              <a:ext uri="{FF2B5EF4-FFF2-40B4-BE49-F238E27FC236}">
                <a16:creationId xmlns:a16="http://schemas.microsoft.com/office/drawing/2014/main" id="{C024CC59-CB8B-404F-82E2-4F59721F4CC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black">
          <a:xfrm>
            <a:off x="6039404" y="9262256"/>
            <a:ext cx="285467" cy="39081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pPr algn="l"/>
            <a:fld id="{6F450DBC-90BB-49B2-91E4-AABCC1357725}" type="slidenum">
              <a:rPr lang="de-DE" sz="900" smtClean="0"/>
              <a:pPr algn="l"/>
              <a:t>‹#›</a:t>
            </a:fld>
            <a:endParaRPr lang="de-DE" sz="90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4EEB4B23-29CF-4DD3-A96B-2B9F09F547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63456"/>
          <a:stretch/>
        </p:blipFill>
        <p:spPr bwMode="black">
          <a:xfrm>
            <a:off x="384820" y="9211948"/>
            <a:ext cx="682820" cy="492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0354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900"/>
      </a:spcAft>
      <a:buClr>
        <a:schemeClr val="tx2"/>
      </a:buClr>
      <a:buFont typeface="+mj-lt" panose="05020102010507070707" pitchFamily="18" charset="2"/>
      <a:buNone/>
      <a:defRPr sz="1200" b="0" kern="1200">
        <a:solidFill>
          <a:schemeClr val="tx1"/>
        </a:solidFill>
        <a:latin typeface="+mj-lt"/>
        <a:ea typeface="+mn-ea"/>
        <a:cs typeface="+mn-cs"/>
      </a:defRPr>
    </a:lvl1pPr>
    <a:lvl2pPr marL="0" indent="0" algn="l" defTabSz="914400" rtl="0" eaLnBrk="1" latinLnBrk="0" hangingPunct="1">
      <a:spcAft>
        <a:spcPts val="600"/>
      </a:spcAft>
      <a:buClr>
        <a:schemeClr val="tx2"/>
      </a:buClr>
      <a:buFont typeface="+mj-lt" panose="05020102010507070707" pitchFamily="18" charset="2"/>
      <a:buNone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44000" indent="-144000" algn="l" defTabSz="914400" rtl="0" eaLnBrk="1" latinLnBrk="0" hangingPunct="1">
      <a:spcAft>
        <a:spcPts val="600"/>
      </a:spcAft>
      <a:buClr>
        <a:schemeClr val="tx2"/>
      </a:buClr>
      <a:buFont typeface="TeleNeo Office" panose="020B0504040202090203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288000" indent="-144000" algn="l" defTabSz="914400" rtl="0" eaLnBrk="1" latinLnBrk="0" hangingPunct="1">
      <a:spcAft>
        <a:spcPts val="600"/>
      </a:spcAft>
      <a:buClr>
        <a:schemeClr val="tx2"/>
      </a:buClr>
      <a:buFont typeface="TeleNeo Office" panose="020B0504040202090203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432000" indent="-144000" algn="l" defTabSz="914400" rtl="0" eaLnBrk="1" latinLnBrk="0" hangingPunct="1">
      <a:spcAft>
        <a:spcPts val="600"/>
      </a:spcAft>
      <a:buClr>
        <a:schemeClr val="tx2"/>
      </a:buClr>
      <a:buFont typeface="TeleNeo Office" panose="020B0504040202090203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576000" indent="-144000" algn="l" defTabSz="914400" rtl="0" eaLnBrk="1" latinLnBrk="0" hangingPunct="1">
      <a:spcAft>
        <a:spcPts val="600"/>
      </a:spcAft>
      <a:buClr>
        <a:schemeClr val="tx2"/>
      </a:buClr>
      <a:buFont typeface="TeleNeo Office" panose="020B0504040202090203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720000" indent="-144000" algn="l" defTabSz="914400" rtl="0" eaLnBrk="1" latinLnBrk="0" hangingPunct="1">
      <a:spcAft>
        <a:spcPts val="600"/>
      </a:spcAft>
      <a:buClr>
        <a:schemeClr val="tx2"/>
      </a:buClr>
      <a:buFont typeface="TeleNeo Office" panose="020B0504040202090203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864000" indent="-144000" algn="l" defTabSz="914400" rtl="0" eaLnBrk="1" latinLnBrk="0" hangingPunct="1">
      <a:spcAft>
        <a:spcPts val="600"/>
      </a:spcAft>
      <a:buClr>
        <a:schemeClr val="tx2"/>
      </a:buClr>
      <a:buFont typeface="TeleNeo Office" panose="020B0504040202090203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1008000" indent="-144000" algn="l" defTabSz="914400" rtl="0" eaLnBrk="1" latinLnBrk="0" hangingPunct="1">
      <a:spcAft>
        <a:spcPts val="600"/>
      </a:spcAft>
      <a:buClr>
        <a:schemeClr val="tx2"/>
      </a:buClr>
      <a:buFont typeface="TeleNeo Office" panose="020B0504040202090203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/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 typeface="Wingdings,Sans-Serif"/>
              <a:buChar char="§"/>
            </a:pPr>
            <a:r>
              <a:rPr lang="cs-CZ"/>
              <a:t>Pokrytí mobilním signálem 5G</a:t>
            </a:r>
            <a:endParaRPr lang="en-US"/>
          </a:p>
          <a:p>
            <a:pPr marL="342900" indent="-342900">
              <a:buFont typeface="Wingdings,Sans-Serif"/>
              <a:buChar char="§"/>
            </a:pPr>
            <a:r>
              <a:rPr lang="cs-CZ"/>
              <a:t>BTS může být určena pouze pro síť T-Mobile nebo jako sdílené řešení s O2 (v případě zájmu ze strany O2)</a:t>
            </a:r>
            <a:endParaRPr lang="en-US"/>
          </a:p>
          <a:p>
            <a:pPr marL="342900" indent="-342900">
              <a:buFont typeface="Wingdings,Sans-Serif"/>
              <a:buChar char="§"/>
            </a:pPr>
            <a:r>
              <a:rPr lang="cs-CZ"/>
              <a:t>Možnost využití obecních pozemků či objektů je důležitým předpokladem pro úspěšnou realizaci</a:t>
            </a:r>
            <a:endParaRPr lang="en-US"/>
          </a:p>
          <a:p>
            <a:pPr marL="342900" indent="-342900">
              <a:buFont typeface="Wingdings,Sans-Serif"/>
              <a:buChar char="§"/>
            </a:pPr>
            <a:r>
              <a:rPr lang="cs-CZ" dirty="0"/>
              <a:t>Předběžné cenové rozpětí se pohybuje od vyšších stovek tisíc korun až přes milion Kč v závislosti na konkrétním řešení (např. počet sektorů a frekvencí)</a:t>
            </a:r>
            <a:endParaRPr lang="en-US" dirty="0"/>
          </a:p>
          <a:p>
            <a:pPr marL="342900" indent="-342900">
              <a:buFont typeface="Wingdings,Sans-Serif"/>
              <a:buChar char="§"/>
            </a:pPr>
            <a:r>
              <a:rPr lang="cs-CZ" dirty="0"/>
              <a:t>Realizace závisí na technické proveditelnosti 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/>
            <a:fld id="{6F450DBC-90BB-49B2-91E4-AABCC1357725}" type="slidenum">
              <a:rPr lang="de-DE" sz="900" smtClean="0"/>
              <a:pPr algn="l"/>
              <a:t>5</a:t>
            </a:fld>
            <a:endParaRPr lang="de-DE" sz="900"/>
          </a:p>
        </p:txBody>
      </p:sp>
    </p:spTree>
    <p:extLst>
      <p:ext uri="{BB962C8B-B14F-4D97-AF65-F5344CB8AC3E}">
        <p14:creationId xmlns:p14="http://schemas.microsoft.com/office/powerpoint/2010/main" val="38890705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long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0E780C9C-54F2-4355-8844-2AA50F6BC46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5297864" y="0"/>
            <a:ext cx="6894136" cy="6858000"/>
          </a:xfrm>
          <a:custGeom>
            <a:avLst/>
            <a:gdLst>
              <a:gd name="connsiteX0" fmla="*/ 6894136 w 6894136"/>
              <a:gd name="connsiteY0" fmla="*/ 0 h 6858000"/>
              <a:gd name="connsiteX1" fmla="*/ 6894136 w 6894136"/>
              <a:gd name="connsiteY1" fmla="*/ 6858000 h 6858000"/>
              <a:gd name="connsiteX2" fmla="*/ 0 w 6894136"/>
              <a:gd name="connsiteY2" fmla="*/ 6858000 h 6858000"/>
              <a:gd name="connsiteX3" fmla="*/ 1265474 w 6894136"/>
              <a:gd name="connsiteY3" fmla="*/ 19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94136" h="6858000">
                <a:moveTo>
                  <a:pt x="6894136" y="0"/>
                </a:moveTo>
                <a:lnTo>
                  <a:pt x="6894136" y="6858000"/>
                </a:lnTo>
                <a:lnTo>
                  <a:pt x="0" y="6858000"/>
                </a:lnTo>
                <a:lnTo>
                  <a:pt x="1265474" y="197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 baseline="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5DB660-BEA6-4B99-9720-1536CF7D2DA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79376" y="1484313"/>
            <a:ext cx="4536000" cy="2140911"/>
          </a:xfrm>
        </p:spPr>
        <p:txBody>
          <a:bodyPr lIns="0" bIns="0" anchor="b"/>
          <a:lstStyle>
            <a:lvl1pPr algn="l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of presentatio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4891937-CC24-41A9-9EB6-06AEE112B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376" y="3789096"/>
            <a:ext cx="4536000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Subtitle | Author | Place | Date</a:t>
            </a: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6F9BAA1A-E911-4D42-917F-05D80DB2F2DB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479424" y="5733256"/>
            <a:ext cx="544302" cy="648000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63976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221700B-8639-459A-9DB3-8908E707983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25773F91-952B-4027-A509-D0FC05D7DA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line short 40pt (2 lines 24pt/space 1)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1FD126-04E4-4103-B3F0-0C5F4BE146E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en-US" dirty="0"/>
              <a:t>&lt;Define details via Insert | Header and Footer&gt; confidential, internal, public | Author | Topic of presentation | Date</a:t>
            </a:r>
          </a:p>
        </p:txBody>
      </p:sp>
    </p:spTree>
    <p:extLst>
      <p:ext uri="{BB962C8B-B14F-4D97-AF65-F5344CB8AC3E}">
        <p14:creationId xmlns:p14="http://schemas.microsoft.com/office/powerpoint/2010/main" val="5734516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C5366064-1808-4159-BB7D-81B4B8BCFD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60624" y="6459822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B1C9843-9CCD-4707-BCAD-91FEBBD1A27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algn="l"/>
            <a:r>
              <a:rPr lang="en-US" dirty="0"/>
              <a:t>&lt;Define details via Insert | Header and Footer&gt; confidential, internal, public | Author | Topic of presentation | Date</a:t>
            </a:r>
          </a:p>
        </p:txBody>
      </p:sp>
    </p:spTree>
    <p:extLst>
      <p:ext uri="{BB962C8B-B14F-4D97-AF65-F5344CB8AC3E}">
        <p14:creationId xmlns:p14="http://schemas.microsoft.com/office/powerpoint/2010/main" val="39527618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33E96A5-93EA-451A-88A2-0C4325907D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Headline short 40pt (2 lines 24pt/space 1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5D6AE95-30E2-4E14-9028-628793137D1D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376" y="1484313"/>
            <a:ext cx="5472000" cy="4896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20BABE80-E0D1-46E7-8B60-730D1088E23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6240000" y="1483726"/>
            <a:ext cx="5472000" cy="4896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5645BF9-9EDA-419B-AB36-7B935620D10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pPr algn="l"/>
            <a:r>
              <a:rPr lang="en-US" dirty="0"/>
              <a:t>&lt;Define details via Insert | Header and Footer&gt; confidential, internal, public | Author | Topic of presentation | Dat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42DE23C-5423-48CE-8882-D6C06C2846C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25918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CF5EE6-FFD8-44FD-9C80-95B68F34D2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Headline short 40pt (2 lines 24pt/space 1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422070A-7303-4B7F-93D4-191685839B5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376" y="1484313"/>
            <a:ext cx="3528000" cy="4896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7D9598B6-CEA7-42C6-8376-9C8FFAD9B4C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4296000" y="1484313"/>
            <a:ext cx="3600000" cy="4896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508F3AD6-ECB1-46C4-8C4D-7E86183245A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8184624" y="1484313"/>
            <a:ext cx="3528000" cy="4896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889586-28CC-47C6-B178-BBAB3175501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 algn="l"/>
            <a:r>
              <a:rPr lang="en-US" dirty="0"/>
              <a:t>&lt;Define details via Insert | Header and Footer&gt; confidential, internal, public | Author | Topic of presentation | Dat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D1528BA-A52E-4337-B474-61A6A8DD5E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572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BE4F56-CAAF-476E-A2B9-F1A0D25C8BAC}"/>
              </a:ext>
            </a:extLst>
          </p:cNvPr>
          <p:cNvSpPr>
            <a:spLocks noGrp="1"/>
          </p:cNvSpPr>
          <p:nvPr>
            <p:ph type="title" sz="quarter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Headline short 40pt (2 lines 24pt/space 1)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4B6057D-AA55-47BF-A331-2E2648C311B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376" y="1484313"/>
            <a:ext cx="2592000" cy="4896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D73B4FC-B74D-4CE7-B959-B58A486BFB4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3359696" y="1484313"/>
            <a:ext cx="2592000" cy="4896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5C02444F-BCE5-47EE-A8CF-C44F258655A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6240000" y="1484313"/>
            <a:ext cx="2592000" cy="4896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747D8B36-797B-4379-B1D3-EFD569BF81E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 bwMode="gray">
          <a:xfrm>
            <a:off x="9120624" y="1484313"/>
            <a:ext cx="2592000" cy="4896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9BF96E58-B088-4C9A-B95A-5833E90EA5E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pPr algn="l"/>
            <a:r>
              <a:rPr lang="en-US" dirty="0"/>
              <a:t>&lt;Define details via Insert | Header and Footer&gt; confidential, internal, public | Author | Topic of presentation | Date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743D715B-42D7-4FC5-83D7-9CCA39782FD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68255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with highl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A968421-13D9-452E-9E1F-D6F5FE4699B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376" y="1484313"/>
            <a:ext cx="3528000" cy="4896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61FA861B-DD93-4B8B-8DB8-0BCD738A172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4295800" y="1484313"/>
            <a:ext cx="3600000" cy="4896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7BBEDD2-BE9F-4A3C-BB81-2353AC6C54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line short 40pt (2 lines 24pt/space 1)</a:t>
            </a:r>
          </a:p>
        </p:txBody>
      </p:sp>
      <p:sp>
        <p:nvSpPr>
          <p:cNvPr id="8" name="Freeform: Shape 12">
            <a:extLst>
              <a:ext uri="{FF2B5EF4-FFF2-40B4-BE49-F238E27FC236}">
                <a16:creationId xmlns:a16="http://schemas.microsoft.com/office/drawing/2014/main" id="{9D0862D2-AED8-4E0B-92B3-CB48CC15A0E0}"/>
              </a:ext>
            </a:extLst>
          </p:cNvPr>
          <p:cNvSpPr/>
          <p:nvPr userDrawn="1"/>
        </p:nvSpPr>
        <p:spPr bwMode="gray">
          <a:xfrm>
            <a:off x="7913792" y="1484312"/>
            <a:ext cx="4278208" cy="4897438"/>
          </a:xfrm>
          <a:custGeom>
            <a:avLst/>
            <a:gdLst>
              <a:gd name="connsiteX0" fmla="*/ 3150760 w 4278208"/>
              <a:gd name="connsiteY0" fmla="*/ 0 h 4897438"/>
              <a:gd name="connsiteX1" fmla="*/ 4278208 w 4278208"/>
              <a:gd name="connsiteY1" fmla="*/ 0 h 4897438"/>
              <a:gd name="connsiteX2" fmla="*/ 4278208 w 4278208"/>
              <a:gd name="connsiteY2" fmla="*/ 4897438 h 4897438"/>
              <a:gd name="connsiteX3" fmla="*/ 4089262 w 4278208"/>
              <a:gd name="connsiteY3" fmla="*/ 4897438 h 4897438"/>
              <a:gd name="connsiteX4" fmla="*/ 3150760 w 4278208"/>
              <a:gd name="connsiteY4" fmla="*/ 4897438 h 4897438"/>
              <a:gd name="connsiteX5" fmla="*/ 0 w 4278208"/>
              <a:gd name="connsiteY5" fmla="*/ 4897438 h 4897438"/>
              <a:gd name="connsiteX6" fmla="*/ 163558 w 4278208"/>
              <a:gd name="connsiteY6" fmla="*/ 4029750 h 4897438"/>
              <a:gd name="connsiteX7" fmla="*/ 913209 w 4278208"/>
              <a:gd name="connsiteY7" fmla="*/ 677 h 4897438"/>
              <a:gd name="connsiteX8" fmla="*/ 3150760 w 4278208"/>
              <a:gd name="connsiteY8" fmla="*/ 677 h 4897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278208" h="4897438">
                <a:moveTo>
                  <a:pt x="3150760" y="0"/>
                </a:moveTo>
                <a:lnTo>
                  <a:pt x="4278208" y="0"/>
                </a:lnTo>
                <a:lnTo>
                  <a:pt x="4278208" y="4897438"/>
                </a:lnTo>
                <a:lnTo>
                  <a:pt x="4089262" y="4897438"/>
                </a:lnTo>
                <a:lnTo>
                  <a:pt x="3150760" y="4897438"/>
                </a:lnTo>
                <a:lnTo>
                  <a:pt x="0" y="4897438"/>
                </a:lnTo>
                <a:lnTo>
                  <a:pt x="163558" y="4029750"/>
                </a:lnTo>
                <a:cubicBezTo>
                  <a:pt x="413442" y="2686726"/>
                  <a:pt x="655958" y="1343702"/>
                  <a:pt x="913209" y="677"/>
                </a:cubicBezTo>
                <a:lnTo>
                  <a:pt x="3150760" y="677"/>
                </a:lnTo>
                <a:close/>
              </a:path>
            </a:pathLst>
          </a:cu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71D49593-9508-492B-90C5-F09125A9C1D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pPr algn="l"/>
            <a:r>
              <a:rPr lang="en-US" dirty="0"/>
              <a:t>&lt;Define details via Insert | Header and Footer&gt; confidential, internal, public | Author | Topic of presentation | Date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C7C8EAF-3E10-43D6-9B69-D139BF64DF5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77961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93F1334-0C30-417F-8C36-14E54C69E5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Headline short 40pt (2 lines 24pt/space 1)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390C6A2-43FF-4452-B80E-84686F69C3A3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425" y="1484588"/>
            <a:ext cx="3528000" cy="4897162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reeform: Shape 11">
            <a:extLst>
              <a:ext uri="{FF2B5EF4-FFF2-40B4-BE49-F238E27FC236}">
                <a16:creationId xmlns:a16="http://schemas.microsoft.com/office/drawing/2014/main" id="{12A89A98-38F0-4125-B055-9C860DA9FC1A}"/>
              </a:ext>
            </a:extLst>
          </p:cNvPr>
          <p:cNvSpPr/>
          <p:nvPr userDrawn="1"/>
        </p:nvSpPr>
        <p:spPr bwMode="gray">
          <a:xfrm>
            <a:off x="4295800" y="1484312"/>
            <a:ext cx="7896200" cy="4897438"/>
          </a:xfrm>
          <a:custGeom>
            <a:avLst/>
            <a:gdLst>
              <a:gd name="connsiteX0" fmla="*/ 3150760 w 7896200"/>
              <a:gd name="connsiteY0" fmla="*/ 0 h 4897438"/>
              <a:gd name="connsiteX1" fmla="*/ 4278208 w 7896200"/>
              <a:gd name="connsiteY1" fmla="*/ 0 h 4897438"/>
              <a:gd name="connsiteX2" fmla="*/ 4278208 w 7896200"/>
              <a:gd name="connsiteY2" fmla="*/ 816 h 4897438"/>
              <a:gd name="connsiteX3" fmla="*/ 7896200 w 7896200"/>
              <a:gd name="connsiteY3" fmla="*/ 816 h 4897438"/>
              <a:gd name="connsiteX4" fmla="*/ 7896200 w 7896200"/>
              <a:gd name="connsiteY4" fmla="*/ 4897438 h 4897438"/>
              <a:gd name="connsiteX5" fmla="*/ 4278208 w 7896200"/>
              <a:gd name="connsiteY5" fmla="*/ 4897438 h 4897438"/>
              <a:gd name="connsiteX6" fmla="*/ 4089262 w 7896200"/>
              <a:gd name="connsiteY6" fmla="*/ 4897438 h 4897438"/>
              <a:gd name="connsiteX7" fmla="*/ 3150760 w 7896200"/>
              <a:gd name="connsiteY7" fmla="*/ 4897438 h 4897438"/>
              <a:gd name="connsiteX8" fmla="*/ 74220 w 7896200"/>
              <a:gd name="connsiteY8" fmla="*/ 4897438 h 4897438"/>
              <a:gd name="connsiteX9" fmla="*/ 0 w 7896200"/>
              <a:gd name="connsiteY9" fmla="*/ 4897438 h 4897438"/>
              <a:gd name="connsiteX10" fmla="*/ 163558 w 7896200"/>
              <a:gd name="connsiteY10" fmla="*/ 4029750 h 4897438"/>
              <a:gd name="connsiteX11" fmla="*/ 913209 w 7896200"/>
              <a:gd name="connsiteY11" fmla="*/ 677 h 4897438"/>
              <a:gd name="connsiteX12" fmla="*/ 3150760 w 7896200"/>
              <a:gd name="connsiteY12" fmla="*/ 677 h 4897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896200" h="4897438">
                <a:moveTo>
                  <a:pt x="3150760" y="0"/>
                </a:moveTo>
                <a:lnTo>
                  <a:pt x="4278208" y="0"/>
                </a:lnTo>
                <a:lnTo>
                  <a:pt x="4278208" y="816"/>
                </a:lnTo>
                <a:lnTo>
                  <a:pt x="7896200" y="816"/>
                </a:lnTo>
                <a:lnTo>
                  <a:pt x="7896200" y="4897438"/>
                </a:lnTo>
                <a:lnTo>
                  <a:pt x="4278208" y="4897438"/>
                </a:lnTo>
                <a:lnTo>
                  <a:pt x="4089262" y="4897438"/>
                </a:lnTo>
                <a:lnTo>
                  <a:pt x="3150760" y="4897438"/>
                </a:lnTo>
                <a:lnTo>
                  <a:pt x="74220" y="4897438"/>
                </a:lnTo>
                <a:lnTo>
                  <a:pt x="0" y="4897438"/>
                </a:lnTo>
                <a:lnTo>
                  <a:pt x="163558" y="4029750"/>
                </a:lnTo>
                <a:cubicBezTo>
                  <a:pt x="413442" y="2686726"/>
                  <a:pt x="655958" y="1343702"/>
                  <a:pt x="913209" y="677"/>
                </a:cubicBezTo>
                <a:lnTo>
                  <a:pt x="3150760" y="677"/>
                </a:lnTo>
                <a:close/>
              </a:path>
            </a:pathLst>
          </a:custGeom>
          <a:solidFill>
            <a:srgbClr val="E20074"/>
          </a:solidFill>
          <a:ln w="301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DFBB1CA-C61D-4A97-B9D5-A805CCF931E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pPr algn="l"/>
            <a:r>
              <a:rPr lang="en-US" dirty="0"/>
              <a:t>&lt;Define details via Insert | Header and Footer&gt; confidential, internal, public | Author | Topic of presentation | Dat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FF85986-C820-4AB9-8209-3195C3E49A4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76295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B38C1338-03E2-479A-84CD-1A9C778CC6C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0920536" y="0"/>
            <a:ext cx="1271464" cy="6858000"/>
          </a:xfrm>
          <a:custGeom>
            <a:avLst/>
            <a:gdLst>
              <a:gd name="connsiteX0" fmla="*/ 1271464 w 1271464"/>
              <a:gd name="connsiteY0" fmla="*/ 0 h 6858000"/>
              <a:gd name="connsiteX1" fmla="*/ 1271464 w 1271464"/>
              <a:gd name="connsiteY1" fmla="*/ 6858000 h 6858000"/>
              <a:gd name="connsiteX2" fmla="*/ 0 w 1271464"/>
              <a:gd name="connsiteY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71464" h="6858000">
                <a:moveTo>
                  <a:pt x="1271464" y="0"/>
                </a:moveTo>
                <a:lnTo>
                  <a:pt x="127146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504000" tIns="1620000" bIns="0" anchor="ctr">
            <a:noAutofit/>
          </a:bodyPr>
          <a:lstStyle>
            <a:lvl1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 defTabSz="179388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White </a:t>
            </a:r>
            <a:br>
              <a:rPr lang="en-US" dirty="0"/>
            </a:br>
            <a:r>
              <a:rPr lang="en-US" dirty="0"/>
              <a:t>background </a:t>
            </a:r>
            <a:br>
              <a:rPr lang="en-US" dirty="0"/>
            </a:br>
            <a:r>
              <a:rPr lang="en-US" dirty="0"/>
              <a:t>or add gradient </a:t>
            </a:r>
            <a:br>
              <a:rPr lang="en-US" dirty="0"/>
            </a:br>
            <a:r>
              <a:rPr lang="en-US" dirty="0"/>
              <a:t>as a pictur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8F2A4CF4-F40B-4E8A-9194-82C4992C32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422800" y="2134800"/>
            <a:ext cx="7344000" cy="2448000"/>
          </a:xfrm>
        </p:spPr>
        <p:txBody>
          <a:bodyPr anchor="ctr">
            <a:noAutofit/>
          </a:bodyPr>
          <a:lstStyle>
            <a:lvl1pPr marL="0" indent="0">
              <a:lnSpc>
                <a:spcPct val="80000"/>
              </a:lnSpc>
              <a:buFont typeface="+mn-lt" panose="020B0604020202020204" pitchFamily="34" charset="0"/>
              <a:buNone/>
              <a:defRPr sz="4000">
                <a:solidFill>
                  <a:schemeClr val="bg1"/>
                </a:solidFill>
                <a:latin typeface="+mj-lt"/>
              </a:defRPr>
            </a:lvl1pPr>
            <a:lvl2pPr marL="0" indent="0" algn="r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Font typeface="+mn-lt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</a:defRPr>
            </a:lvl2pPr>
            <a:lvl3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4pPr>
            <a:lvl5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5pPr>
            <a:lvl6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6pPr>
            <a:lvl7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7pPr>
            <a:lvl8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8pPr>
            <a:lvl9pPr marL="0" indent="0" algn="r">
              <a:lnSpc>
                <a:spcPct val="8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“Click to insert a powerful quote, multi-lined possible”</a:t>
            </a:r>
          </a:p>
          <a:p>
            <a:pPr lvl="1"/>
            <a:r>
              <a:rPr lang="en-US" dirty="0"/>
              <a:t>– Author</a:t>
            </a:r>
          </a:p>
        </p:txBody>
      </p:sp>
    </p:spTree>
    <p:extLst>
      <p:ext uri="{BB962C8B-B14F-4D97-AF65-F5344CB8AC3E}">
        <p14:creationId xmlns:p14="http://schemas.microsoft.com/office/powerpoint/2010/main" val="17632712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3FB304-618D-40B7-940D-69DE27A219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Headline short 40pt (2 lines 24pt/space 1)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8C1C1B3-2B43-47F5-9FA0-80C6D4477A0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240016" y="1484313"/>
            <a:ext cx="5953200" cy="4896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>
                <a:tab pos="2687638" algn="l"/>
              </a:tabLst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en-US" dirty="0"/>
              <a:t>Add pictur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B4C7612-0C84-4376-B998-B34EAE1F544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479376" y="1484313"/>
            <a:ext cx="5472000" cy="4896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CD8C59-AB08-4E68-ABC5-054B8E96A1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 algn="l"/>
            <a:r>
              <a:rPr lang="en-US" dirty="0"/>
              <a:t>&lt;Define details via Insert | Header and Footer&gt; confidential, internal, public | Author | Topic of presentation | Dat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1ABB7E4-4C03-4625-A9FD-0653E9CDEE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39286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902E79-B5C3-4A51-9C68-88010755DD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Headline short 40pt (2 lines 24pt/space 1)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CD48E90-58F3-40B4-B97C-453785FBBAB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8184624" y="1484313"/>
            <a:ext cx="3528000" cy="4896000"/>
          </a:xfrm>
        </p:spPr>
        <p:txBody>
          <a:bodyPr>
            <a:noAutofit/>
          </a:bodyPr>
          <a:lstStyle>
            <a:lvl5pPr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40AE5EC-538A-4BF1-ABC1-3EE1CF9C15F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79375" y="1485312"/>
            <a:ext cx="7416000" cy="4896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tx1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tx1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lvl="4"/>
            <a:r>
              <a:rPr lang="en-US" dirty="0"/>
              <a:t>Add pictur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D2B3D04-CC57-411E-8F02-823234E22B1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pPr algn="l"/>
            <a:r>
              <a:rPr lang="en-US" dirty="0"/>
              <a:t>&lt;Define details via Insert | Header and Footer&gt; confidential, internal, public | Author | Topic of presentation | Dat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DE116DD-4D66-41B8-8695-AE80DF78EDF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52588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long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19DF1A20-2D08-4001-ACCD-157B201C6BA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2"/>
            <a:ext cx="6979050" cy="6857999"/>
          </a:xfrm>
          <a:custGeom>
            <a:avLst/>
            <a:gdLst>
              <a:gd name="connsiteX0" fmla="*/ 0 w 6979050"/>
              <a:gd name="connsiteY0" fmla="*/ 0 h 6857999"/>
              <a:gd name="connsiteX1" fmla="*/ 6979050 w 6979050"/>
              <a:gd name="connsiteY1" fmla="*/ 0 h 6857999"/>
              <a:gd name="connsiteX2" fmla="*/ 5721751 w 6979050"/>
              <a:gd name="connsiteY2" fmla="*/ 6857999 h 6857999"/>
              <a:gd name="connsiteX3" fmla="*/ 5718661 w 6979050"/>
              <a:gd name="connsiteY3" fmla="*/ 6857999 h 6857999"/>
              <a:gd name="connsiteX4" fmla="*/ 0 w 6979050"/>
              <a:gd name="connsiteY4" fmla="*/ 6856108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79050" h="6857999">
                <a:moveTo>
                  <a:pt x="0" y="0"/>
                </a:moveTo>
                <a:lnTo>
                  <a:pt x="6979050" y="0"/>
                </a:lnTo>
                <a:lnTo>
                  <a:pt x="5721751" y="6857999"/>
                </a:lnTo>
                <a:lnTo>
                  <a:pt x="5718661" y="6857999"/>
                </a:lnTo>
                <a:lnTo>
                  <a:pt x="0" y="6856108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855CF3A-8745-495B-9FFE-CE92A5F4D68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7176113" y="1484313"/>
            <a:ext cx="4536000" cy="2142783"/>
          </a:xfrm>
        </p:spPr>
        <p:txBody>
          <a:bodyPr lIns="0" anchor="b"/>
          <a:lstStyle>
            <a:lvl1pPr algn="l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of presentatio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931B0A1-8DE4-4F87-9296-AE72B35697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176113" y="3789096"/>
            <a:ext cx="4536000" cy="504000"/>
          </a:xfrm>
        </p:spPr>
        <p:txBody>
          <a:bodyPr lIns="0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en-US" dirty="0"/>
              <a:t>Subtitle | Author | Place | Date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38A7530A-F2BE-4960-A13F-DF414D0EA816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11168273" y="5733256"/>
            <a:ext cx="544302" cy="648000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39645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(fullsca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58364E8-4ECD-4C26-A5E5-021E95A628B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12192000" cy="6858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en-US" dirty="0"/>
              <a:t>Add pictur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3C2C57A-9E9C-4D5E-A671-30A26FCD5B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l"/>
            <a:r>
              <a:rPr lang="en-US" dirty="0"/>
              <a:t>&lt;Define details via Insert | Header and Footer&gt; confidential, internal, public | Author | Topic of presentation | Dat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F4D60B8-EBC4-4141-8E22-C02E87953A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63330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with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58364E8-4ECD-4C26-A5E5-021E95A628B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79425" y="0"/>
            <a:ext cx="11712575" cy="6858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tabLst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en-US" dirty="0"/>
              <a:t>Add pictur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8DF5307-E60A-4BDF-B8C6-709DBA4944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l"/>
            <a:r>
              <a:rPr lang="en-US" dirty="0"/>
              <a:t>&lt;Define details via Insert | Header and Footer&gt; confidential, internal, public | Author | Topic of presentation | Dat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CE5E996-493D-48DC-9368-0094BFC4E6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265317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AB90201-1A9B-7729-E18B-2982D2A51F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418E4D8-E485-A83B-87A7-268C2E3C8F5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E827A7A-8BAD-BA1C-907B-8BDA8E4189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59146A-A8EB-4180-85EC-CFD3ED087F8B}" type="datetimeFigureOut">
              <a:rPr lang="de-DE" smtClean="0"/>
              <a:t>18.03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3EFC87B-D6ED-7EC5-A1A2-861FE40CD5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7B7D13A-7E47-CC15-80DC-FBD03FA826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4D66CD-5C0B-45C7-AF68-16970DCCDD4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884900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306090-E8CA-D287-7299-94EF8F0962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0340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306090-E8CA-D287-7299-94EF8F0962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E2965633-D5A6-A92A-4360-B51464D08EC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BF6B344-E92C-CE73-B282-54A548C98F6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79376" y="5830322"/>
            <a:ext cx="2498255" cy="498597"/>
          </a:xfrm>
          <a:prstGeom prst="rect">
            <a:avLst/>
          </a:prstGeom>
        </p:spPr>
      </p:pic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FB76D58C-1DC2-0E9C-EBDA-21D7C36A82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28000" y="1167309"/>
            <a:ext cx="4824000" cy="4320606"/>
          </a:xfrm>
        </p:spPr>
        <p:txBody>
          <a:bodyPr wrap="square">
            <a:spAutoFit/>
          </a:bodyPr>
          <a:lstStyle>
            <a:lvl1pPr>
              <a:spcAft>
                <a:spcPts val="1200"/>
              </a:spcAft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hapter topic</a:t>
            </a:r>
          </a:p>
          <a:p>
            <a:pPr lvl="0"/>
            <a:r>
              <a:rPr lang="en-US"/>
              <a:t>Chapter topic</a:t>
            </a:r>
          </a:p>
          <a:p>
            <a:pPr lvl="0"/>
            <a:r>
              <a:rPr lang="en-US"/>
              <a:t>Chapter topic</a:t>
            </a:r>
          </a:p>
          <a:p>
            <a:pPr lvl="0"/>
            <a:r>
              <a:rPr lang="en-US"/>
              <a:t>Chapter topic</a:t>
            </a:r>
          </a:p>
          <a:p>
            <a:pPr lvl="0"/>
            <a:r>
              <a:rPr lang="en-US"/>
              <a:t>Chapter topic</a:t>
            </a:r>
          </a:p>
          <a:p>
            <a:pPr lvl="0"/>
            <a:r>
              <a:rPr lang="en-US"/>
              <a:t>Chapter topic</a:t>
            </a:r>
          </a:p>
          <a:p>
            <a:pPr lvl="0"/>
            <a:r>
              <a:rPr lang="en-US"/>
              <a:t>Chapter topic</a:t>
            </a:r>
          </a:p>
          <a:p>
            <a:pPr lvl="0"/>
            <a:r>
              <a:rPr lang="en-US"/>
              <a:t>Chapter topic</a:t>
            </a:r>
          </a:p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hapter topic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C0333402-E1E7-5D7D-8DB6-87F62E1F5D3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376" y="1167309"/>
            <a:ext cx="432624" cy="4320606"/>
          </a:xfrm>
        </p:spPr>
        <p:txBody>
          <a:bodyPr>
            <a:spAutoFit/>
          </a:bodyPr>
          <a:lstStyle>
            <a:lvl1pPr>
              <a:spcAft>
                <a:spcPts val="1200"/>
              </a:spcAft>
              <a:defRPr sz="18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  <a:p>
            <a:pPr lvl="0"/>
            <a:r>
              <a:rPr lang="en-US"/>
              <a:t>02</a:t>
            </a:r>
          </a:p>
          <a:p>
            <a:pPr lvl="0"/>
            <a:r>
              <a:rPr lang="en-US"/>
              <a:t>03</a:t>
            </a:r>
          </a:p>
          <a:p>
            <a:pPr lvl="0"/>
            <a:r>
              <a:rPr lang="en-US"/>
              <a:t>04</a:t>
            </a:r>
          </a:p>
          <a:p>
            <a:pPr lvl="0"/>
            <a:r>
              <a:rPr lang="en-US"/>
              <a:t>05</a:t>
            </a:r>
          </a:p>
          <a:p>
            <a:pPr lvl="0"/>
            <a:r>
              <a:rPr lang="en-US"/>
              <a:t>06</a:t>
            </a:r>
          </a:p>
          <a:p>
            <a:pPr lvl="0"/>
            <a:r>
              <a:rPr lang="en-US"/>
              <a:t>07</a:t>
            </a:r>
          </a:p>
          <a:p>
            <a:pPr lvl="0"/>
            <a:r>
              <a:rPr lang="en-US"/>
              <a:t>08</a:t>
            </a:r>
          </a:p>
          <a:p>
            <a:pPr lvl="0"/>
            <a:r>
              <a:rPr lang="en-US"/>
              <a:t>09</a:t>
            </a:r>
          </a:p>
        </p:txBody>
      </p:sp>
      <p:sp>
        <p:nvSpPr>
          <p:cNvPr id="8" name="Titelplatzhalter 1">
            <a:extLst>
              <a:ext uri="{FF2B5EF4-FFF2-40B4-BE49-F238E27FC236}">
                <a16:creationId xmlns:a16="http://schemas.microsoft.com/office/drawing/2014/main" id="{763C0F5A-1AD8-C4AB-E81D-71022C8E48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376" y="405000"/>
            <a:ext cx="5472624" cy="4985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A61261D0-2DC0-AA50-BC8A-C9EF71DD61F9}"/>
              </a:ext>
            </a:extLst>
          </p:cNvPr>
          <p:cNvSpPr/>
          <p:nvPr userDrawn="1"/>
        </p:nvSpPr>
        <p:spPr>
          <a:xfrm>
            <a:off x="6096000" y="3176"/>
            <a:ext cx="6096000" cy="6854824"/>
          </a:xfrm>
          <a:custGeom>
            <a:avLst/>
            <a:gdLst>
              <a:gd name="connsiteX0" fmla="*/ 1251750 w 6096000"/>
              <a:gd name="connsiteY0" fmla="*/ 0 h 6854824"/>
              <a:gd name="connsiteX1" fmla="*/ 6096000 w 6096000"/>
              <a:gd name="connsiteY1" fmla="*/ 0 h 6854824"/>
              <a:gd name="connsiteX2" fmla="*/ 6096000 w 6096000"/>
              <a:gd name="connsiteY2" fmla="*/ 6854824 h 6854824"/>
              <a:gd name="connsiteX3" fmla="*/ 1487757 w 6096000"/>
              <a:gd name="connsiteY3" fmla="*/ 6854824 h 6854824"/>
              <a:gd name="connsiteX4" fmla="*/ 1381078 w 6096000"/>
              <a:gd name="connsiteY4" fmla="*/ 6854824 h 6854824"/>
              <a:gd name="connsiteX5" fmla="*/ 0 w 6096000"/>
              <a:gd name="connsiteY5" fmla="*/ 6854824 h 68548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854824">
                <a:moveTo>
                  <a:pt x="1251750" y="0"/>
                </a:moveTo>
                <a:lnTo>
                  <a:pt x="6096000" y="0"/>
                </a:lnTo>
                <a:lnTo>
                  <a:pt x="6096000" y="6854824"/>
                </a:lnTo>
                <a:lnTo>
                  <a:pt x="1487757" y="6854824"/>
                </a:lnTo>
                <a:lnTo>
                  <a:pt x="1381078" y="6854824"/>
                </a:lnTo>
                <a:lnTo>
                  <a:pt x="0" y="6854824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Picture Placeholder 15">
            <a:extLst>
              <a:ext uri="{FF2B5EF4-FFF2-40B4-BE49-F238E27FC236}">
                <a16:creationId xmlns:a16="http://schemas.microsoft.com/office/drawing/2014/main" id="{E0ACE91A-2344-EBF8-ED22-DC1E72B3E35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 bwMode="gray">
          <a:xfrm>
            <a:off x="6096000" y="0"/>
            <a:ext cx="6096000" cy="6858000"/>
          </a:xfrm>
          <a:custGeom>
            <a:avLst/>
            <a:gdLst>
              <a:gd name="connsiteX0" fmla="*/ 1252330 w 6096000"/>
              <a:gd name="connsiteY0" fmla="*/ 0 h 6858000"/>
              <a:gd name="connsiteX1" fmla="*/ 1381078 w 6096000"/>
              <a:gd name="connsiteY1" fmla="*/ 0 h 6858000"/>
              <a:gd name="connsiteX2" fmla="*/ 2740086 w 6096000"/>
              <a:gd name="connsiteY2" fmla="*/ 0 h 6858000"/>
              <a:gd name="connsiteX3" fmla="*/ 6096000 w 6096000"/>
              <a:gd name="connsiteY3" fmla="*/ 0 h 6858000"/>
              <a:gd name="connsiteX4" fmla="*/ 6096000 w 6096000"/>
              <a:gd name="connsiteY4" fmla="*/ 6858000 h 6858000"/>
              <a:gd name="connsiteX5" fmla="*/ 1487757 w 6096000"/>
              <a:gd name="connsiteY5" fmla="*/ 6858000 h 6858000"/>
              <a:gd name="connsiteX6" fmla="*/ 1381078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1252330" y="0"/>
                </a:moveTo>
                <a:lnTo>
                  <a:pt x="1381078" y="0"/>
                </a:lnTo>
                <a:lnTo>
                  <a:pt x="2740086" y="0"/>
                </a:lnTo>
                <a:lnTo>
                  <a:pt x="6096000" y="0"/>
                </a:lnTo>
                <a:lnTo>
                  <a:pt x="6096000" y="6858000"/>
                </a:lnTo>
                <a:lnTo>
                  <a:pt x="1487757" y="6858000"/>
                </a:lnTo>
                <a:lnTo>
                  <a:pt x="1381078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99749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hort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7981B2F9-E477-4910-B6C8-B4166311C89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2067877 h 6858000"/>
              <a:gd name="connsiteX1" fmla="*/ 952 w 12192000"/>
              <a:gd name="connsiteY1" fmla="*/ 6858000 h 6858000"/>
              <a:gd name="connsiteX2" fmla="*/ 0 w 12192000"/>
              <a:gd name="connsiteY2" fmla="*/ 6858000 h 6858000"/>
              <a:gd name="connsiteX3" fmla="*/ 0 w 12192000"/>
              <a:gd name="connsiteY3" fmla="*/ 0 h 6858000"/>
              <a:gd name="connsiteX4" fmla="*/ 12192000 w 12192000"/>
              <a:gd name="connsiteY4" fmla="*/ 0 h 6858000"/>
              <a:gd name="connsiteX5" fmla="*/ 12192000 w 12192000"/>
              <a:gd name="connsiteY5" fmla="*/ 6858000 h 6858000"/>
              <a:gd name="connsiteX6" fmla="*/ 952 w 12192000"/>
              <a:gd name="connsiteY6" fmla="*/ 6858000 h 6858000"/>
              <a:gd name="connsiteX7" fmla="*/ 5554980 w 12192000"/>
              <a:gd name="connsiteY7" fmla="*/ 6857999 h 6858000"/>
              <a:gd name="connsiteX8" fmla="*/ 6454140 w 12192000"/>
              <a:gd name="connsiteY8" fmla="*/ 2067877 h 6858000"/>
              <a:gd name="connsiteX9" fmla="*/ 0 w 12192000"/>
              <a:gd name="connsiteY9" fmla="*/ 206787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6858000">
                <a:moveTo>
                  <a:pt x="0" y="2067877"/>
                </a:moveTo>
                <a:cubicBezTo>
                  <a:pt x="317" y="3664585"/>
                  <a:pt x="635" y="5261292"/>
                  <a:pt x="952" y="6858000"/>
                </a:cubicBezTo>
                <a:lnTo>
                  <a:pt x="0" y="6858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952" y="6858000"/>
                </a:lnTo>
                <a:lnTo>
                  <a:pt x="5554980" y="6857999"/>
                </a:lnTo>
                <a:lnTo>
                  <a:pt x="6454140" y="2067877"/>
                </a:lnTo>
                <a:lnTo>
                  <a:pt x="0" y="2067877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Add picture</a:t>
            </a:r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B4DB53C6-4A5C-48C2-AF98-0DC609E20DF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376" y="4676400"/>
            <a:ext cx="5040000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Subtitle | Author | Place | Dat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2CC7B3-5721-4953-BA56-DB66B353865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79376" y="2349120"/>
            <a:ext cx="5040000" cy="2160000"/>
          </a:xfrm>
        </p:spPr>
        <p:txBody>
          <a:bodyPr lIns="0" bIns="0" anchor="b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of presentation</a:t>
            </a:r>
            <a:endParaRPr lang="en-US" dirty="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3CD1DD9C-F02A-47C8-8743-11F4261A4C3F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479424" y="5733256"/>
            <a:ext cx="544302" cy="648000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19958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hort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4E87C846-8014-43F0-BCFB-649C50CDBD1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2069183 h 6858000"/>
              <a:gd name="connsiteX3" fmla="*/ 6630185 w 12192000"/>
              <a:gd name="connsiteY3" fmla="*/ 2069183 h 6858000"/>
              <a:gd name="connsiteX4" fmla="*/ 5725212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2069183"/>
                </a:lnTo>
                <a:lnTo>
                  <a:pt x="6630185" y="2069183"/>
                </a:lnTo>
                <a:lnTo>
                  <a:pt x="572521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776EA0-9308-4136-9D96-5081DF8610A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6744608" y="2348880"/>
            <a:ext cx="4968000" cy="2160000"/>
          </a:xfrm>
        </p:spPr>
        <p:txBody>
          <a:bodyPr lIns="0" anchor="b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of presentation</a:t>
            </a:r>
            <a:endParaRPr lang="en-US" dirty="0"/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768CC432-56E4-4092-B0F1-5C6FD1847CA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6744608" y="4672800"/>
            <a:ext cx="4968000" cy="5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Subtitle | Author | Place | Date</a:t>
            </a: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81C213A6-316B-4042-A9E0-954B2D89EE86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11168273" y="5733256"/>
            <a:ext cx="544302" cy="648000"/>
          </a:xfrm>
          <a:custGeom>
            <a:avLst/>
            <a:gdLst>
              <a:gd name="T0" fmla="*/ 10667 w 14000"/>
              <a:gd name="T1" fmla="*/ 11000 h 16667"/>
              <a:gd name="T2" fmla="*/ 14000 w 14000"/>
              <a:gd name="T3" fmla="*/ 11000 h 16667"/>
              <a:gd name="T4" fmla="*/ 14000 w 14000"/>
              <a:gd name="T5" fmla="*/ 7667 h 16667"/>
              <a:gd name="T6" fmla="*/ 12333 w 14000"/>
              <a:gd name="T7" fmla="*/ 7667 h 16667"/>
              <a:gd name="T8" fmla="*/ 10667 w 14000"/>
              <a:gd name="T9" fmla="*/ 7667 h 16667"/>
              <a:gd name="T10" fmla="*/ 10667 w 14000"/>
              <a:gd name="T11" fmla="*/ 11000 h 16667"/>
              <a:gd name="T12" fmla="*/ 0 w 14000"/>
              <a:gd name="T13" fmla="*/ 0 h 16667"/>
              <a:gd name="T14" fmla="*/ 0 w 14000"/>
              <a:gd name="T15" fmla="*/ 5667 h 16667"/>
              <a:gd name="T16" fmla="*/ 1000 w 14000"/>
              <a:gd name="T17" fmla="*/ 5667 h 16667"/>
              <a:gd name="T18" fmla="*/ 1000 w 14000"/>
              <a:gd name="T19" fmla="*/ 5500 h 16667"/>
              <a:gd name="T20" fmla="*/ 5333 w 14000"/>
              <a:gd name="T21" fmla="*/ 1167 h 16667"/>
              <a:gd name="T22" fmla="*/ 5500 w 14000"/>
              <a:gd name="T23" fmla="*/ 1167 h 16667"/>
              <a:gd name="T24" fmla="*/ 5500 w 14000"/>
              <a:gd name="T25" fmla="*/ 13167 h 16667"/>
              <a:gd name="T26" fmla="*/ 3167 w 14000"/>
              <a:gd name="T27" fmla="*/ 15500 h 16667"/>
              <a:gd name="T28" fmla="*/ 2667 w 14000"/>
              <a:gd name="T29" fmla="*/ 15500 h 16667"/>
              <a:gd name="T30" fmla="*/ 2667 w 14000"/>
              <a:gd name="T31" fmla="*/ 16667 h 16667"/>
              <a:gd name="T32" fmla="*/ 11333 w 14000"/>
              <a:gd name="T33" fmla="*/ 16667 h 16667"/>
              <a:gd name="T34" fmla="*/ 11333 w 14000"/>
              <a:gd name="T35" fmla="*/ 15500 h 16667"/>
              <a:gd name="T36" fmla="*/ 10833 w 14000"/>
              <a:gd name="T37" fmla="*/ 15500 h 16667"/>
              <a:gd name="T38" fmla="*/ 8500 w 14000"/>
              <a:gd name="T39" fmla="*/ 13167 h 16667"/>
              <a:gd name="T40" fmla="*/ 8500 w 14000"/>
              <a:gd name="T41" fmla="*/ 1167 h 16667"/>
              <a:gd name="T42" fmla="*/ 8667 w 14000"/>
              <a:gd name="T43" fmla="*/ 1167 h 16667"/>
              <a:gd name="T44" fmla="*/ 13000 w 14000"/>
              <a:gd name="T45" fmla="*/ 5500 h 16667"/>
              <a:gd name="T46" fmla="*/ 13000 w 14000"/>
              <a:gd name="T47" fmla="*/ 5667 h 16667"/>
              <a:gd name="T48" fmla="*/ 14000 w 14000"/>
              <a:gd name="T49" fmla="*/ 5667 h 16667"/>
              <a:gd name="T50" fmla="*/ 14000 w 14000"/>
              <a:gd name="T51" fmla="*/ 0 h 16667"/>
              <a:gd name="T52" fmla="*/ 0 w 14000"/>
              <a:gd name="T53" fmla="*/ 0 h 16667"/>
              <a:gd name="T54" fmla="*/ 3333 w 14000"/>
              <a:gd name="T55" fmla="*/ 11000 h 16667"/>
              <a:gd name="T56" fmla="*/ 0 w 14000"/>
              <a:gd name="T57" fmla="*/ 11000 h 16667"/>
              <a:gd name="T58" fmla="*/ 0 w 14000"/>
              <a:gd name="T59" fmla="*/ 7667 h 16667"/>
              <a:gd name="T60" fmla="*/ 1667 w 14000"/>
              <a:gd name="T61" fmla="*/ 7667 h 16667"/>
              <a:gd name="T62" fmla="*/ 3333 w 14000"/>
              <a:gd name="T63" fmla="*/ 7667 h 16667"/>
              <a:gd name="T64" fmla="*/ 3333 w 14000"/>
              <a:gd name="T65" fmla="*/ 11000 h 16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000" h="16667">
                <a:moveTo>
                  <a:pt x="10667" y="11000"/>
                </a:moveTo>
                <a:lnTo>
                  <a:pt x="14000" y="11000"/>
                </a:lnTo>
                <a:lnTo>
                  <a:pt x="14000" y="7667"/>
                </a:lnTo>
                <a:lnTo>
                  <a:pt x="12333" y="7667"/>
                </a:lnTo>
                <a:lnTo>
                  <a:pt x="10667" y="7667"/>
                </a:lnTo>
                <a:lnTo>
                  <a:pt x="10667" y="11000"/>
                </a:lnTo>
                <a:close/>
                <a:moveTo>
                  <a:pt x="0" y="0"/>
                </a:moveTo>
                <a:lnTo>
                  <a:pt x="0" y="5667"/>
                </a:lnTo>
                <a:lnTo>
                  <a:pt x="1000" y="5667"/>
                </a:lnTo>
                <a:lnTo>
                  <a:pt x="1000" y="5500"/>
                </a:lnTo>
                <a:cubicBezTo>
                  <a:pt x="1000" y="2833"/>
                  <a:pt x="2500" y="1167"/>
                  <a:pt x="5333" y="1167"/>
                </a:cubicBezTo>
                <a:lnTo>
                  <a:pt x="5500" y="1167"/>
                </a:lnTo>
                <a:lnTo>
                  <a:pt x="5500" y="13167"/>
                </a:lnTo>
                <a:cubicBezTo>
                  <a:pt x="5500" y="14833"/>
                  <a:pt x="4833" y="15500"/>
                  <a:pt x="3167" y="15500"/>
                </a:cubicBezTo>
                <a:lnTo>
                  <a:pt x="2667" y="15500"/>
                </a:lnTo>
                <a:lnTo>
                  <a:pt x="2667" y="16667"/>
                </a:lnTo>
                <a:lnTo>
                  <a:pt x="11333" y="16667"/>
                </a:lnTo>
                <a:lnTo>
                  <a:pt x="11333" y="15500"/>
                </a:lnTo>
                <a:lnTo>
                  <a:pt x="10833" y="15500"/>
                </a:lnTo>
                <a:cubicBezTo>
                  <a:pt x="9167" y="15500"/>
                  <a:pt x="8500" y="14833"/>
                  <a:pt x="8500" y="13167"/>
                </a:cubicBezTo>
                <a:lnTo>
                  <a:pt x="8500" y="1167"/>
                </a:lnTo>
                <a:lnTo>
                  <a:pt x="8667" y="1167"/>
                </a:lnTo>
                <a:cubicBezTo>
                  <a:pt x="11500" y="1167"/>
                  <a:pt x="13000" y="2833"/>
                  <a:pt x="13000" y="5500"/>
                </a:cubicBezTo>
                <a:lnTo>
                  <a:pt x="13000" y="5667"/>
                </a:lnTo>
                <a:lnTo>
                  <a:pt x="14000" y="5667"/>
                </a:lnTo>
                <a:lnTo>
                  <a:pt x="14000" y="0"/>
                </a:lnTo>
                <a:lnTo>
                  <a:pt x="0" y="0"/>
                </a:lnTo>
                <a:close/>
                <a:moveTo>
                  <a:pt x="3333" y="11000"/>
                </a:moveTo>
                <a:lnTo>
                  <a:pt x="0" y="11000"/>
                </a:lnTo>
                <a:lnTo>
                  <a:pt x="0" y="7667"/>
                </a:lnTo>
                <a:lnTo>
                  <a:pt x="1667" y="7667"/>
                </a:lnTo>
                <a:lnTo>
                  <a:pt x="3333" y="7667"/>
                </a:lnTo>
                <a:lnTo>
                  <a:pt x="3333" y="11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81402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B883D2FF-D647-45CD-A73D-4072E12B26E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7248114" y="368"/>
            <a:ext cx="4943886" cy="6857632"/>
          </a:xfrm>
          <a:custGeom>
            <a:avLst/>
            <a:gdLst>
              <a:gd name="connsiteX0" fmla="*/ 4943886 w 4943886"/>
              <a:gd name="connsiteY0" fmla="*/ 0 h 6857632"/>
              <a:gd name="connsiteX1" fmla="*/ 4943886 w 4943886"/>
              <a:gd name="connsiteY1" fmla="*/ 6857632 h 6857632"/>
              <a:gd name="connsiteX2" fmla="*/ 0 w 4943886"/>
              <a:gd name="connsiteY2" fmla="*/ 6857632 h 6857632"/>
              <a:gd name="connsiteX3" fmla="*/ 1277303 w 4943886"/>
              <a:gd name="connsiteY3" fmla="*/ 586 h 6857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43886" h="6857632">
                <a:moveTo>
                  <a:pt x="4943886" y="0"/>
                </a:moveTo>
                <a:lnTo>
                  <a:pt x="4943886" y="6857632"/>
                </a:lnTo>
                <a:lnTo>
                  <a:pt x="0" y="6857632"/>
                </a:lnTo>
                <a:lnTo>
                  <a:pt x="1277303" y="58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5287F2-4C81-49CB-BD75-94BEC6AF1B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705" y="1989160"/>
            <a:ext cx="6624000" cy="504000"/>
          </a:xfrm>
        </p:spPr>
        <p:txBody>
          <a:bodyPr anchor="b"/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4" name="Untertitel 2">
            <a:extLst>
              <a:ext uri="{FF2B5EF4-FFF2-40B4-BE49-F238E27FC236}">
                <a16:creationId xmlns:a16="http://schemas.microsoft.com/office/drawing/2014/main" id="{E3FD7DC8-726A-46D4-A85A-BF1992E8210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376" y="2565160"/>
            <a:ext cx="6624000" cy="23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4"/>
            <a:r>
              <a:rPr lang="en-US" dirty="0"/>
              <a:t>Divider slide to separate chapters</a:t>
            </a:r>
          </a:p>
        </p:txBody>
      </p:sp>
    </p:spTree>
    <p:extLst>
      <p:ext uri="{BB962C8B-B14F-4D97-AF65-F5344CB8AC3E}">
        <p14:creationId xmlns:p14="http://schemas.microsoft.com/office/powerpoint/2010/main" val="23375150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EC348A62-6FBD-48EB-857E-EA302D879D3D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0"/>
            <a:ext cx="4439815" cy="6858000"/>
          </a:xfrm>
          <a:custGeom>
            <a:avLst/>
            <a:gdLst>
              <a:gd name="connsiteX0" fmla="*/ 0 w 4439815"/>
              <a:gd name="connsiteY0" fmla="*/ 0 h 6858000"/>
              <a:gd name="connsiteX1" fmla="*/ 4439815 w 4439815"/>
              <a:gd name="connsiteY1" fmla="*/ 0 h 6858000"/>
              <a:gd name="connsiteX2" fmla="*/ 3186243 w 4439815"/>
              <a:gd name="connsiteY2" fmla="*/ 6858000 h 6858000"/>
              <a:gd name="connsiteX3" fmla="*/ 0 w 443981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39815" h="6858000">
                <a:moveTo>
                  <a:pt x="0" y="0"/>
                </a:moveTo>
                <a:lnTo>
                  <a:pt x="4439815" y="0"/>
                </a:lnTo>
                <a:lnTo>
                  <a:pt x="318624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E4369FD-4569-413B-8637-ED89BF8BE4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872624" y="1988840"/>
            <a:ext cx="6840000" cy="504000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7" name="Untertitel 2">
            <a:extLst>
              <a:ext uri="{FF2B5EF4-FFF2-40B4-BE49-F238E27FC236}">
                <a16:creationId xmlns:a16="http://schemas.microsoft.com/office/drawing/2014/main" id="{A4E67476-8A11-4E03-B57B-AF937AFD8E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872624" y="2564840"/>
            <a:ext cx="6840000" cy="23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4"/>
            <a:r>
              <a:rPr lang="en-US" dirty="0"/>
              <a:t>Divider slide to separate chapters</a:t>
            </a:r>
          </a:p>
        </p:txBody>
      </p:sp>
    </p:spTree>
    <p:extLst>
      <p:ext uri="{BB962C8B-B14F-4D97-AF65-F5344CB8AC3E}">
        <p14:creationId xmlns:p14="http://schemas.microsoft.com/office/powerpoint/2010/main" val="454301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0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CB0FE816-662D-4D4A-9BA2-ED66087E5A2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2" y="0"/>
            <a:ext cx="7281150" cy="6858000"/>
          </a:xfrm>
          <a:custGeom>
            <a:avLst/>
            <a:gdLst>
              <a:gd name="connsiteX0" fmla="*/ 0 w 7281150"/>
              <a:gd name="connsiteY0" fmla="*/ 0 h 6858000"/>
              <a:gd name="connsiteX1" fmla="*/ 7281150 w 7281150"/>
              <a:gd name="connsiteY1" fmla="*/ 0 h 6858000"/>
              <a:gd name="connsiteX2" fmla="*/ 6011976 w 7281150"/>
              <a:gd name="connsiteY2" fmla="*/ 6858000 h 6858000"/>
              <a:gd name="connsiteX3" fmla="*/ 0 w 728115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81150" h="6858000">
                <a:moveTo>
                  <a:pt x="0" y="0"/>
                </a:moveTo>
                <a:lnTo>
                  <a:pt x="7281150" y="0"/>
                </a:lnTo>
                <a:lnTo>
                  <a:pt x="6011976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Add picture</a:t>
            </a: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04B637A3-33C5-4A94-B8A3-0C6F5F53D6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7248128" y="1988896"/>
            <a:ext cx="4464000" cy="504000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3" name="Untertitel 2">
            <a:extLst>
              <a:ext uri="{FF2B5EF4-FFF2-40B4-BE49-F238E27FC236}">
                <a16:creationId xmlns:a16="http://schemas.microsoft.com/office/drawing/2014/main" id="{E119360A-7028-4033-BE23-C2EE0FCAA94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250400" y="2564904"/>
            <a:ext cx="4464000" cy="2304000"/>
          </a:xfrm>
        </p:spPr>
        <p:txBody>
          <a:bodyPr lIns="0" bIns="0" anchor="t"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2pPr>
            <a:lvl3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3pPr>
            <a:lvl4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4pPr>
            <a:lvl5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5pPr>
            <a:lvl6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6pPr>
            <a:lvl7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7pPr>
            <a:lvl8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8pPr>
            <a:lvl9pPr marL="0" indent="0" algn="l">
              <a:lnSpc>
                <a:spcPct val="90000"/>
              </a:lnSpc>
              <a:spcAft>
                <a:spcPts val="0"/>
              </a:spcAft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4"/>
            <a:r>
              <a:rPr lang="en-US" dirty="0"/>
              <a:t>Divider slide to separate chapters</a:t>
            </a:r>
          </a:p>
        </p:txBody>
      </p:sp>
    </p:spTree>
    <p:extLst>
      <p:ext uri="{BB962C8B-B14F-4D97-AF65-F5344CB8AC3E}">
        <p14:creationId xmlns:p14="http://schemas.microsoft.com/office/powerpoint/2010/main" val="5183067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20769089-5068-4C15-9B22-3B1239886FE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0"/>
            <a:ext cx="5121825" cy="6858000"/>
          </a:xfrm>
          <a:custGeom>
            <a:avLst/>
            <a:gdLst>
              <a:gd name="connsiteX0" fmla="*/ 0 w 5121825"/>
              <a:gd name="connsiteY0" fmla="*/ 0 h 6858000"/>
              <a:gd name="connsiteX1" fmla="*/ 5121825 w 5121825"/>
              <a:gd name="connsiteY1" fmla="*/ 0 h 6858000"/>
              <a:gd name="connsiteX2" fmla="*/ 3858175 w 5121825"/>
              <a:gd name="connsiteY2" fmla="*/ 6858000 h 6858000"/>
              <a:gd name="connsiteX3" fmla="*/ 0 w 512182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21825" h="6858000">
                <a:moveTo>
                  <a:pt x="0" y="0"/>
                </a:moveTo>
                <a:lnTo>
                  <a:pt x="5121825" y="0"/>
                </a:lnTo>
                <a:lnTo>
                  <a:pt x="38581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8830D87-D07A-43A8-A980-AB5EBED7AB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376" y="405000"/>
            <a:ext cx="3528000" cy="720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genda</a:t>
            </a:r>
          </a:p>
        </p:txBody>
      </p:sp>
      <p:cxnSp>
        <p:nvCxnSpPr>
          <p:cNvPr id="20" name="Gerader Verbinder 34">
            <a:extLst>
              <a:ext uri="{FF2B5EF4-FFF2-40B4-BE49-F238E27FC236}">
                <a16:creationId xmlns:a16="http://schemas.microsoft.com/office/drawing/2014/main" id="{2B1F3CF2-72B7-458C-91FB-CAC468766B3E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-150688" y="422672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34">
            <a:extLst>
              <a:ext uri="{FF2B5EF4-FFF2-40B4-BE49-F238E27FC236}">
                <a16:creationId xmlns:a16="http://schemas.microsoft.com/office/drawing/2014/main" id="{35B15501-DA39-4405-A501-B808FEEAC7B2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-150688" y="1430712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34">
            <a:extLst>
              <a:ext uri="{FF2B5EF4-FFF2-40B4-BE49-F238E27FC236}">
                <a16:creationId xmlns:a16="http://schemas.microsoft.com/office/drawing/2014/main" id="{20E6086C-F980-44D4-8F7B-4091DDC2E9E9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-150688" y="6327328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F60262B2-3FC0-4933-A938-8A3C6B34A7D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5952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6B585910-715B-4A53-B6DB-D2F11724C83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40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AD03814F-80B6-4F95-AA09-B575532BCBF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896232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78660860-D3F9-4B5A-8FF3-EE882E71090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184232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F3877F4A-7091-4406-9127-67DCF4A164D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007768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F2A3D405-9365-47F4-B065-FA28F4C28C09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295768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35613885-F031-47F6-9EE6-97B59BF6C8E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071664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0336CE15-2DA5-4767-9E03-49CA6669E5B9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359664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2DB14636-94C8-43AE-A018-56FDBB27DB7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832336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E0942DD0-8B7B-4844-8E00-A77A0694FE0C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9120336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4">
            <a:extLst>
              <a:ext uri="{FF2B5EF4-FFF2-40B4-BE49-F238E27FC236}">
                <a16:creationId xmlns:a16="http://schemas.microsoft.com/office/drawing/2014/main" id="{EAEB2504-940C-4858-823B-F837809221E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376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7">
            <a:extLst>
              <a:ext uri="{FF2B5EF4-FFF2-40B4-BE49-F238E27FC236}">
                <a16:creationId xmlns:a16="http://schemas.microsoft.com/office/drawing/2014/main" id="{6FDACDB1-F571-4B51-87C2-51B68697CAE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1712624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188628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351FED-C2FB-40B3-9812-6EDF2B43DC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line short 40pt (2 lines 24pt/space 1)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C186323F-21B0-414B-B738-0CBC5536F22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425" y="1485024"/>
            <a:ext cx="11233150" cy="4896726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89CEA4-0C81-4360-9410-F4CF7D802D8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98AA2BF-B96A-4188-807E-4ACBAECC824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 algn="l"/>
            <a:r>
              <a:rPr lang="en-US" dirty="0"/>
              <a:t>&lt;Define details via Insert | Header and Footer&gt; confidential, internal, public | Author | Topic of presentation | Date</a:t>
            </a:r>
          </a:p>
        </p:txBody>
      </p:sp>
    </p:spTree>
    <p:extLst>
      <p:ext uri="{BB962C8B-B14F-4D97-AF65-F5344CB8AC3E}">
        <p14:creationId xmlns:p14="http://schemas.microsoft.com/office/powerpoint/2010/main" val="33142890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152CBC3-B660-49EC-8CFF-BDC08B2D060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405000"/>
            <a:ext cx="11233150" cy="72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Headline short 40pt (2 lines 24pt/space 1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47DA143-B8D4-4CBA-A16E-07B0484BAAA6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9425" y="1484712"/>
            <a:ext cx="11233150" cy="48970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3E0E978-16D5-413F-A203-BAC957010E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79425" y="6459822"/>
            <a:ext cx="83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900" kern="900" baseline="0">
                <a:solidFill>
                  <a:schemeClr val="tx1"/>
                </a:solidFill>
              </a:defRPr>
            </a:lvl1pPr>
          </a:lstStyle>
          <a:p>
            <a:pPr algn="l"/>
            <a:r>
              <a:rPr lang="en-US" dirty="0"/>
              <a:t>&lt;Define details via Insert | Header and Footer&gt; confidential, internal, public | Author | Topic of presentation | Dat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290EB52-2700-4288-B91E-A90263E48C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60624" y="6459822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22" name="Gerader Verbinder 34">
            <a:extLst>
              <a:ext uri="{FF2B5EF4-FFF2-40B4-BE49-F238E27FC236}">
                <a16:creationId xmlns:a16="http://schemas.microsoft.com/office/drawing/2014/main" id="{6ABAA016-7E93-4746-B97E-C5BEEEC441D1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-150688" y="422672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34">
            <a:extLst>
              <a:ext uri="{FF2B5EF4-FFF2-40B4-BE49-F238E27FC236}">
                <a16:creationId xmlns:a16="http://schemas.microsoft.com/office/drawing/2014/main" id="{7552A32A-6F02-474B-9C7E-E0B4CC3582BC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-150688" y="1430712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34">
            <a:extLst>
              <a:ext uri="{FF2B5EF4-FFF2-40B4-BE49-F238E27FC236}">
                <a16:creationId xmlns:a16="http://schemas.microsoft.com/office/drawing/2014/main" id="{D0B16D45-53B5-4DBF-8E57-06CA9A86E703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-150688" y="6327328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178AA04B-918F-4D40-A391-BF3B18F58B4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5952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8BD96E97-9BA7-4E3E-A9C2-87882CE9B68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40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9C3B3188-2DFB-4EAE-B916-8338F895983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896232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BAF2FA0F-2910-4B07-9AE8-C61BD24F475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184232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E4A84EB4-277B-4B14-9434-662F666B2B2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007768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C2D4A9C3-2A22-4099-A755-D44118620B9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295768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AF88AD17-67FE-4421-81DF-B5630CA1289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071664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F1FE4F92-3BD0-42CE-87DE-F4F39963A3F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359664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0B915BF1-CC33-48EB-856F-8685951631D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832336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E5FF1E84-FC22-4E3A-9D5B-2B569BB83C5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9120336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34">
            <a:extLst>
              <a:ext uri="{FF2B5EF4-FFF2-40B4-BE49-F238E27FC236}">
                <a16:creationId xmlns:a16="http://schemas.microsoft.com/office/drawing/2014/main" id="{446BADBC-7AE7-4AC0-B7B1-FE319EC0CF7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376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r Verbinder 37">
            <a:extLst>
              <a:ext uri="{FF2B5EF4-FFF2-40B4-BE49-F238E27FC236}">
                <a16:creationId xmlns:a16="http://schemas.microsoft.com/office/drawing/2014/main" id="{05A70AEF-370F-44FC-B5F2-E6060FF4610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1712624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85053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8" r:id="rId8"/>
    <p:sldLayoutId id="2147483674" r:id="rId9"/>
    <p:sldLayoutId id="2147483673" r:id="rId10"/>
    <p:sldLayoutId id="2147483657" r:id="rId11"/>
    <p:sldLayoutId id="2147483659" r:id="rId12"/>
    <p:sldLayoutId id="2147483660" r:id="rId13"/>
    <p:sldLayoutId id="2147483664" r:id="rId14"/>
    <p:sldLayoutId id="2147483661" r:id="rId15"/>
    <p:sldLayoutId id="2147483662" r:id="rId16"/>
    <p:sldLayoutId id="2147483667" r:id="rId17"/>
    <p:sldLayoutId id="2147483663" r:id="rId18"/>
    <p:sldLayoutId id="2147483670" r:id="rId19"/>
    <p:sldLayoutId id="2147483665" r:id="rId20"/>
    <p:sldLayoutId id="2147483666" r:id="rId21"/>
    <p:sldLayoutId id="2147483675" r:id="rId22"/>
    <p:sldLayoutId id="2147483676" r:id="rId2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4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28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432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576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86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0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4" orient="horz" pos="4020" userDrawn="1">
          <p15:clr>
            <a:srgbClr val="F26B43"/>
          </p15:clr>
        </p15:guide>
        <p15:guide id="6" orient="horz" pos="935" userDrawn="1">
          <p15:clr>
            <a:srgbClr val="F26B43"/>
          </p15:clr>
        </p15:guide>
        <p15:guide id="7" orient="horz" pos="30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gif"/><Relationship Id="rId1" Type="http://schemas.openxmlformats.org/officeDocument/2006/relationships/slideLayout" Target="../slideLayouts/slideLayout2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hand holding a tube&#10;&#10;Description automatically generated">
            <a:extLst>
              <a:ext uri="{FF2B5EF4-FFF2-40B4-BE49-F238E27FC236}">
                <a16:creationId xmlns:a16="http://schemas.microsoft.com/office/drawing/2014/main" id="{61AC3722-828A-3494-77A1-3166D13C1C4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065" r="2178"/>
          <a:stretch/>
        </p:blipFill>
        <p:spPr>
          <a:xfrm>
            <a:off x="5297864" y="10"/>
            <a:ext cx="6894136" cy="6857990"/>
          </a:xfrm>
          <a:custGeom>
            <a:avLst/>
            <a:gdLst>
              <a:gd name="connsiteX0" fmla="*/ 6894136 w 6894136"/>
              <a:gd name="connsiteY0" fmla="*/ 0 h 6858000"/>
              <a:gd name="connsiteX1" fmla="*/ 6894136 w 6894136"/>
              <a:gd name="connsiteY1" fmla="*/ 6858000 h 6858000"/>
              <a:gd name="connsiteX2" fmla="*/ 0 w 6894136"/>
              <a:gd name="connsiteY2" fmla="*/ 6858000 h 6858000"/>
              <a:gd name="connsiteX3" fmla="*/ 1265474 w 6894136"/>
              <a:gd name="connsiteY3" fmla="*/ 19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94136" h="6858000">
                <a:moveTo>
                  <a:pt x="6894136" y="0"/>
                </a:moveTo>
                <a:lnTo>
                  <a:pt x="6894136" y="6858000"/>
                </a:lnTo>
                <a:lnTo>
                  <a:pt x="0" y="6858000"/>
                </a:lnTo>
                <a:lnTo>
                  <a:pt x="1265474" y="197"/>
                </a:lnTo>
                <a:close/>
              </a:path>
            </a:pathLst>
          </a:custGeom>
          <a:noFill/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A48E3A77-CA61-AB1B-0E3E-E1DC785D454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376" y="813422"/>
            <a:ext cx="4536000" cy="3341889"/>
          </a:xfrm>
        </p:spPr>
        <p:txBody>
          <a:bodyPr anchor="b">
            <a:normAutofit/>
          </a:bodyPr>
          <a:lstStyle/>
          <a:p>
            <a:r>
              <a:rPr lang="cs-CZ" dirty="0"/>
              <a:t>Zkušenosti s digitální infrastrukturou</a:t>
            </a:r>
            <a:br>
              <a:rPr lang="cs-CZ" dirty="0"/>
            </a:br>
            <a:br>
              <a:rPr lang="cs-CZ" dirty="0"/>
            </a:br>
            <a:r>
              <a:rPr lang="cs-CZ" dirty="0"/>
              <a:t>Krajské setkání Jihlava 13.3.</a:t>
            </a:r>
            <a:br>
              <a:rPr lang="cs-CZ" dirty="0"/>
            </a:br>
            <a:endParaRPr lang="en-CZ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9E624DBF-6EC8-A4C0-E9A8-F4347DCECEC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376" y="4087270"/>
            <a:ext cx="4536000" cy="504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CZ" dirty="0"/>
              <a:t>Martin Orgoník, T-Mobile</a:t>
            </a:r>
            <a:endParaRPr lang="en-CZ"/>
          </a:p>
        </p:txBody>
      </p:sp>
    </p:spTree>
    <p:extLst>
      <p:ext uri="{BB962C8B-B14F-4D97-AF65-F5344CB8AC3E}">
        <p14:creationId xmlns:p14="http://schemas.microsoft.com/office/powerpoint/2010/main" val="29675181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odnadpis 2">
            <a:extLst>
              <a:ext uri="{FF2B5EF4-FFF2-40B4-BE49-F238E27FC236}">
                <a16:creationId xmlns:a16="http://schemas.microsoft.com/office/drawing/2014/main" id="{788D2A6B-66F0-2B93-561F-140CECFFA30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2387" y="1878983"/>
            <a:ext cx="7977629" cy="1550017"/>
          </a:xfrm>
        </p:spPr>
        <p:txBody>
          <a:bodyPr>
            <a:normAutofit fontScale="25000" lnSpcReduction="20000"/>
          </a:bodyPr>
          <a:lstStyle/>
          <a:p>
            <a:pPr algn="l">
              <a:lnSpc>
                <a:spcPts val="3160"/>
              </a:lnSpc>
              <a:spcBef>
                <a:spcPts val="0"/>
              </a:spcBef>
            </a:pPr>
            <a:r>
              <a:rPr lang="cs-CZ" sz="11200" b="1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Změny chování zákazníků v mobilních sítích:</a:t>
            </a:r>
          </a:p>
          <a:p>
            <a:pPr marL="342900" indent="-342900" algn="l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110000"/>
              <a:buFont typeface="Wingdings" pitchFamily="2" charset="2"/>
              <a:buChar char="§"/>
            </a:pPr>
            <a:r>
              <a:rPr lang="cs-CZ" sz="7200">
                <a:latin typeface="Arial" panose="020B0604020202020204" pitchFamily="34" charset="0"/>
                <a:cs typeface="Arial" panose="020B0604020202020204" pitchFamily="34" charset="0"/>
              </a:rPr>
              <a:t>strmý nárůst spotřeby dat (u všech zákazníků)</a:t>
            </a:r>
          </a:p>
          <a:p>
            <a:pPr marL="342900" indent="-342900" algn="l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110000"/>
              <a:buFont typeface="Wingdings" pitchFamily="2" charset="2"/>
              <a:buChar char="§"/>
            </a:pPr>
            <a:r>
              <a:rPr lang="cs-CZ" sz="7200">
                <a:latin typeface="Arial" panose="020B0604020202020204" pitchFamily="34" charset="0"/>
                <a:cs typeface="Arial" panose="020B0604020202020204" pitchFamily="34" charset="0"/>
              </a:rPr>
              <a:t>u tarifních zákazníků je spotřeba dat dvojnásobná </a:t>
            </a:r>
            <a:r>
              <a:rPr lang="cs-CZ" sz="7200" i="1">
                <a:latin typeface="Arial" panose="020B0604020202020204" pitchFamily="34" charset="0"/>
                <a:cs typeface="Arial" panose="020B0604020202020204" pitchFamily="34" charset="0"/>
              </a:rPr>
              <a:t>(18GB/ měsíc)</a:t>
            </a:r>
          </a:p>
          <a:p>
            <a:pPr marL="342900" indent="-342900" algn="l">
              <a:lnSpc>
                <a:spcPct val="100000"/>
              </a:lnSpc>
              <a:buClr>
                <a:schemeClr val="accent5">
                  <a:lumMod val="75000"/>
                </a:schemeClr>
              </a:buClr>
              <a:buSzPct val="110000"/>
              <a:buFont typeface="Wingdings" pitchFamily="2" charset="2"/>
              <a:buChar char="§"/>
            </a:pPr>
            <a:r>
              <a:rPr lang="cs-CZ" sz="7200">
                <a:latin typeface="Arial" panose="020B0604020202020204" pitchFamily="34" charset="0"/>
                <a:cs typeface="Arial" panose="020B0604020202020204" pitchFamily="34" charset="0"/>
              </a:rPr>
              <a:t>pokles o 30% u ceny za 1GB dat v mobilních sítích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7DC2E33-53B2-C1FC-1369-9329870B66A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2387" y="406400"/>
            <a:ext cx="11223057" cy="1403149"/>
          </a:xfrm>
        </p:spPr>
        <p:txBody>
          <a:bodyPr anchor="t">
            <a:noAutofit/>
          </a:bodyPr>
          <a:lstStyle/>
          <a:p>
            <a:pPr algn="l">
              <a:lnSpc>
                <a:spcPts val="4800"/>
              </a:lnSpc>
            </a:pPr>
            <a:r>
              <a:rPr lang="cs-CZ" sz="4400" b="1" dirty="0">
                <a:latin typeface="Arial" panose="020B0604020202020204" pitchFamily="34" charset="0"/>
                <a:cs typeface="Arial" panose="020B0604020202020204" pitchFamily="34" charset="0"/>
              </a:rPr>
              <a:t>Nároky na digitální infrastrukturu </a:t>
            </a:r>
            <a:br>
              <a:rPr lang="cs-CZ" sz="44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4400" b="1" dirty="0">
                <a:latin typeface="Arial" panose="020B0604020202020204" pitchFamily="34" charset="0"/>
                <a:cs typeface="Arial" panose="020B0604020202020204" pitchFamily="34" charset="0"/>
              </a:rPr>
              <a:t>neustále prudce rostou </a:t>
            </a:r>
            <a:endParaRPr lang="cs-CZ" sz="4400" dirty="0"/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947ECF05-0916-61F4-1401-234CDD384210}"/>
              </a:ext>
            </a:extLst>
          </p:cNvPr>
          <p:cNvSpPr txBox="1"/>
          <p:nvPr/>
        </p:nvSpPr>
        <p:spPr>
          <a:xfrm>
            <a:off x="8818323" y="2054347"/>
            <a:ext cx="2921289" cy="96180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lnSpc>
                <a:spcPts val="2100"/>
              </a:lnSpc>
            </a:pPr>
            <a:r>
              <a:rPr lang="cs-CZ" sz="2800" b="1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r>
              <a:rPr lang="cs-CZ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s-CZ" sz="2800" b="1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%</a:t>
            </a:r>
            <a:r>
              <a:rPr lang="cs-CZ" b="1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s-CZ" b="1">
                <a:latin typeface="Arial" panose="020B0604020202020204" pitchFamily="34" charset="0"/>
                <a:cs typeface="Arial" panose="020B0604020202020204" pitchFamily="34" charset="0"/>
              </a:rPr>
              <a:t>dat </a:t>
            </a:r>
            <a:br>
              <a:rPr lang="cs-CZ" b="1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b="1">
                <a:latin typeface="Arial" panose="020B0604020202020204" pitchFamily="34" charset="0"/>
                <a:cs typeface="Arial" panose="020B0604020202020204" pitchFamily="34" charset="0"/>
              </a:rPr>
              <a:t>ročně přenesených </a:t>
            </a:r>
          </a:p>
          <a:p>
            <a:pPr>
              <a:lnSpc>
                <a:spcPts val="2100"/>
              </a:lnSpc>
            </a:pPr>
            <a:r>
              <a:rPr lang="cs-CZ" b="1">
                <a:latin typeface="Arial" panose="020B0604020202020204" pitchFamily="34" charset="0"/>
                <a:cs typeface="Arial" panose="020B0604020202020204" pitchFamily="34" charset="0"/>
              </a:rPr>
              <a:t>v pevných sítích </a:t>
            </a:r>
          </a:p>
          <a:p>
            <a:pPr algn="r"/>
            <a:r>
              <a:rPr lang="cs-CZ" sz="1000">
                <a:effectLst/>
                <a:latin typeface="Arial Narrow" panose="020B0604020202020204" pitchFamily="34" charset="0"/>
                <a:ea typeface="Calibri" panose="020F0502020204030204" pitchFamily="34" charset="0"/>
                <a:cs typeface="Arial Narrow" panose="020B0604020202020204" pitchFamily="34" charset="0"/>
              </a:rPr>
              <a:t>Zdroj: ČTÚ</a:t>
            </a:r>
            <a:endParaRPr lang="cs-CZ" sz="100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2A7B1A24-2DE6-33F1-C3BD-5A61D730B7D1}"/>
              </a:ext>
            </a:extLst>
          </p:cNvPr>
          <p:cNvSpPr txBox="1"/>
          <p:nvPr/>
        </p:nvSpPr>
        <p:spPr>
          <a:xfrm>
            <a:off x="8818323" y="5012745"/>
            <a:ext cx="2921289" cy="134408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lnSpc>
                <a:spcPts val="2100"/>
              </a:lnSpc>
            </a:pPr>
            <a:r>
              <a:rPr lang="cs-CZ" sz="2800" b="1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r>
              <a:rPr lang="cs-CZ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s-CZ" sz="2800" b="1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%</a:t>
            </a:r>
            <a:r>
              <a:rPr lang="cs-CZ" b="1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s-CZ" sz="1800" b="1">
                <a:latin typeface="Arial" panose="020B0604020202020204" pitchFamily="34" charset="0"/>
                <a:cs typeface="Arial" panose="020B0604020202020204" pitchFamily="34" charset="0"/>
              </a:rPr>
              <a:t>využití datacenter celosvětově </a:t>
            </a:r>
            <a:br>
              <a:rPr lang="cs-CZ" sz="1800" b="1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1800" b="1">
                <a:latin typeface="Arial" panose="020B0604020202020204" pitchFamily="34" charset="0"/>
                <a:cs typeface="Arial" panose="020B0604020202020204" pitchFamily="34" charset="0"/>
              </a:rPr>
              <a:t>v důsledku nárůstu </a:t>
            </a:r>
            <a:r>
              <a:rPr lang="cs-CZ" sz="1800" b="1" err="1">
                <a:latin typeface="Arial" panose="020B0604020202020204" pitchFamily="34" charset="0"/>
                <a:cs typeface="Arial" panose="020B0604020202020204" pitchFamily="34" charset="0"/>
              </a:rPr>
              <a:t>cloudifikace</a:t>
            </a:r>
            <a:r>
              <a:rPr lang="cs-CZ" sz="1800" b="1">
                <a:latin typeface="Arial" panose="020B0604020202020204" pitchFamily="34" charset="0"/>
                <a:cs typeface="Arial" panose="020B0604020202020204" pitchFamily="34" charset="0"/>
              </a:rPr>
              <a:t>, ESG a AI</a:t>
            </a:r>
          </a:p>
          <a:p>
            <a:pPr algn="r">
              <a:lnSpc>
                <a:spcPts val="2100"/>
              </a:lnSpc>
            </a:pPr>
            <a:r>
              <a:rPr lang="cs-CZ" sz="1000">
                <a:latin typeface="Arial Narrow" panose="020B0604020202020204" pitchFamily="34" charset="0"/>
                <a:cs typeface="Arial Narrow" panose="020B0604020202020204" pitchFamily="34" charset="0"/>
              </a:rPr>
              <a:t>Zdroj: Data Center 2024 </a:t>
            </a:r>
            <a:r>
              <a:rPr lang="cs-CZ" sz="1000" err="1">
                <a:latin typeface="Arial Narrow" panose="020B0604020202020204" pitchFamily="34" charset="0"/>
                <a:cs typeface="Arial Narrow" panose="020B0604020202020204" pitchFamily="34" charset="0"/>
              </a:rPr>
              <a:t>Global</a:t>
            </a:r>
            <a:r>
              <a:rPr lang="cs-CZ" sz="1000">
                <a:latin typeface="Arial Narrow" panose="020B0604020202020204" pitchFamily="34" charset="0"/>
                <a:cs typeface="Arial Narrow" panose="020B0604020202020204" pitchFamily="34" charset="0"/>
              </a:rPr>
              <a:t> Outlook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770A4920-5A68-9857-D57D-938EEB69B25A}"/>
              </a:ext>
            </a:extLst>
          </p:cNvPr>
          <p:cNvSpPr txBox="1"/>
          <p:nvPr/>
        </p:nvSpPr>
        <p:spPr>
          <a:xfrm>
            <a:off x="8818324" y="3225929"/>
            <a:ext cx="2921289" cy="157703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lnSpc>
                <a:spcPts val="2100"/>
              </a:lnSpc>
            </a:pPr>
            <a:r>
              <a:rPr lang="cs-CZ" sz="2800" b="1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ž</a:t>
            </a:r>
            <a:r>
              <a:rPr lang="cs-CZ" b="1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s-CZ" sz="2800" b="1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20</a:t>
            </a:r>
            <a:r>
              <a:rPr lang="cs-CZ" b="1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s-CZ" sz="2800" b="1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B</a:t>
            </a:r>
            <a:r>
              <a:rPr lang="cs-CZ" b="1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s-CZ" b="1">
                <a:latin typeface="Arial" panose="020B0604020202020204" pitchFamily="34" charset="0"/>
                <a:cs typeface="Arial" panose="020B0604020202020204" pitchFamily="34" charset="0"/>
              </a:rPr>
              <a:t>dat připadá na jednu </a:t>
            </a:r>
            <a:br>
              <a:rPr lang="cs-CZ" b="1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b="1">
                <a:latin typeface="Arial" panose="020B0604020202020204" pitchFamily="34" charset="0"/>
                <a:cs typeface="Arial" panose="020B0604020202020204" pitchFamily="34" charset="0"/>
              </a:rPr>
              <a:t>pevnou přípojku </a:t>
            </a:r>
            <a:br>
              <a:rPr lang="cs-CZ" b="1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b="1">
                <a:latin typeface="Arial" panose="020B0604020202020204" pitchFamily="34" charset="0"/>
                <a:cs typeface="Arial" panose="020B0604020202020204" pitchFamily="34" charset="0"/>
              </a:rPr>
              <a:t>k internetu </a:t>
            </a:r>
            <a:r>
              <a:rPr lang="cs-CZ">
                <a:latin typeface="Arial" panose="020B0604020202020204" pitchFamily="34" charset="0"/>
                <a:cs typeface="Arial" panose="020B0604020202020204" pitchFamily="34" charset="0"/>
              </a:rPr>
              <a:t>(cca 20x více </a:t>
            </a:r>
            <a:br>
              <a:rPr lang="cs-CZ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>
                <a:latin typeface="Arial" panose="020B0604020202020204" pitchFamily="34" charset="0"/>
                <a:cs typeface="Arial" panose="020B0604020202020204" pitchFamily="34" charset="0"/>
              </a:rPr>
              <a:t>než u mobilních sítí)</a:t>
            </a:r>
          </a:p>
          <a:p>
            <a:pPr algn="r">
              <a:lnSpc>
                <a:spcPts val="2100"/>
              </a:lnSpc>
            </a:pPr>
            <a:r>
              <a:rPr lang="cs-CZ" sz="1000">
                <a:latin typeface="Arial Narrow" panose="020B0604020202020204" pitchFamily="34" charset="0"/>
                <a:cs typeface="Arial Narrow" panose="020B0604020202020204" pitchFamily="34" charset="0"/>
              </a:rPr>
              <a:t>Zdroj: ČTÚ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6DC5C499-D99F-688D-2176-C581C63DA0AD}"/>
              </a:ext>
            </a:extLst>
          </p:cNvPr>
          <p:cNvSpPr txBox="1"/>
          <p:nvPr/>
        </p:nvSpPr>
        <p:spPr>
          <a:xfrm>
            <a:off x="496404" y="3663937"/>
            <a:ext cx="770125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cs-CZ" sz="1000" b="1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ývoj celkového objemu přenesených dat a průměrné měsíční spotřeby na 1 mobilní datovou SIM kartu v období 2015–2023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EB8CBE65-33C3-E33E-3D95-C01902F8406B}"/>
              </a:ext>
            </a:extLst>
          </p:cNvPr>
          <p:cNvSpPr txBox="1"/>
          <p:nvPr/>
        </p:nvSpPr>
        <p:spPr>
          <a:xfrm rot="16200000">
            <a:off x="-219213" y="5215228"/>
            <a:ext cx="152622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cs-CZ" sz="10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lkový objem dat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F7773F8B-E1B2-4E12-4E2D-747C5929DF16}"/>
              </a:ext>
            </a:extLst>
          </p:cNvPr>
          <p:cNvSpPr txBox="1"/>
          <p:nvPr/>
        </p:nvSpPr>
        <p:spPr>
          <a:xfrm rot="16200000">
            <a:off x="6766511" y="4624138"/>
            <a:ext cx="270840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cs-CZ" sz="10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ůměrná spotřeba na datovou SIM kartu v GB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7D1F2198-58B6-D6D4-34CD-3B3EBB31A984}"/>
              </a:ext>
            </a:extLst>
          </p:cNvPr>
          <p:cNvSpPr/>
          <p:nvPr/>
        </p:nvSpPr>
        <p:spPr>
          <a:xfrm>
            <a:off x="460198" y="6093503"/>
            <a:ext cx="174132" cy="1741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CA9A008C-6BCA-8138-4822-15752D5D3020}"/>
              </a:ext>
            </a:extLst>
          </p:cNvPr>
          <p:cNvSpPr/>
          <p:nvPr/>
        </p:nvSpPr>
        <p:spPr>
          <a:xfrm>
            <a:off x="8043767" y="6093503"/>
            <a:ext cx="174132" cy="174132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8F01AFEB-31DD-2CB9-3001-8E28967F99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2805" y="4022172"/>
            <a:ext cx="7239000" cy="2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9732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4" descr="Obsah obrázku oblečení, boty, venku, osoba&#10;&#10;Obsah vygenerovaný umělou inteligencí může být nesprávný.">
            <a:extLst>
              <a:ext uri="{FF2B5EF4-FFF2-40B4-BE49-F238E27FC236}">
                <a16:creationId xmlns:a16="http://schemas.microsoft.com/office/drawing/2014/main" id="{14A59002-281E-4BDE-491E-F670A0AEB6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14" y="0"/>
            <a:ext cx="12153372" cy="6842348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DAA27E-AFD1-EA96-58A7-8B285877FD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A1A5E10D-79A5-49BA-9648-53481340C65F}" type="slidenum">
              <a:rPr lang="cs-CZ" smtClean="0"/>
              <a:pPr/>
              <a:t>3</a:t>
            </a:fld>
            <a:endParaRPr lang="cs-CZ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D17960-4346-578A-9D19-35A124C47A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935" y="4852678"/>
            <a:ext cx="4752528" cy="1411663"/>
          </a:xfrm>
        </p:spPr>
        <p:txBody>
          <a:bodyPr/>
          <a:lstStyle/>
          <a:p>
            <a:r>
              <a:rPr lang="cs-CZ" sz="3600" b="1" i="0" u="none" strike="noStrike" dirty="0">
                <a:effectLst/>
              </a:rPr>
              <a:t>Při budování infrastruktury vycházíme obcím vstříc</a:t>
            </a:r>
            <a:endParaRPr lang="cs-CZ" sz="3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ECBF0C-D93F-3948-19FF-56F48BA7323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3214" y="1051663"/>
            <a:ext cx="3600400" cy="5216128"/>
          </a:xfrm>
        </p:spPr>
        <p:txBody>
          <a:bodyPr/>
          <a:lstStyle/>
          <a:p>
            <a:pPr marL="285750" indent="-285750" algn="l">
              <a:buFont typeface="Arial" panose="020B0604020202020204" pitchFamily="34" charset="0"/>
              <a:buChar char="•"/>
            </a:pPr>
            <a:endParaRPr lang="cs-CZ" b="1" i="0" u="none" strike="noStrike" dirty="0">
              <a:solidFill>
                <a:schemeClr val="bg1"/>
              </a:solidFill>
              <a:effectLst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cs-CZ" b="1" dirty="0">
              <a:solidFill>
                <a:schemeClr val="bg1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cs-CZ" b="1" i="0" u="none" strike="noStrike" dirty="0">
                <a:solidFill>
                  <a:schemeClr val="bg1"/>
                </a:solidFill>
                <a:effectLst/>
              </a:rPr>
              <a:t>Spolupráce s městy a obcemi</a:t>
            </a:r>
            <a:r>
              <a:rPr lang="cs-CZ" b="0" i="0" u="none" strike="noStrike" dirty="0">
                <a:solidFill>
                  <a:schemeClr val="bg1"/>
                </a:solidFill>
                <a:effectLst/>
              </a:rPr>
              <a:t>:</a:t>
            </a:r>
          </a:p>
          <a:p>
            <a:pPr marL="429750" lvl="2" indent="-285750">
              <a:buFont typeface="Arial" panose="020B0604020202020204" pitchFamily="34" charset="0"/>
              <a:buChar char="•"/>
            </a:pPr>
            <a:r>
              <a:rPr lang="cs-CZ" b="0" i="0" u="none" strike="noStrike" dirty="0">
                <a:solidFill>
                  <a:schemeClr val="bg1"/>
                </a:solidFill>
                <a:effectLst/>
              </a:rPr>
              <a:t>Úzké plánování a komunikace s vedením měst</a:t>
            </a:r>
          </a:p>
          <a:p>
            <a:pPr marL="429750" lvl="2" indent="-285750">
              <a:buFont typeface="Arial" panose="020B0604020202020204" pitchFamily="34" charset="0"/>
              <a:buChar char="•"/>
            </a:pPr>
            <a:r>
              <a:rPr lang="cs-CZ" b="0" i="0" u="none" strike="noStrike" dirty="0">
                <a:solidFill>
                  <a:schemeClr val="bg1"/>
                </a:solidFill>
                <a:effectLst/>
              </a:rPr>
              <a:t>Minimalizace výkopových prací a dopadu na obyvatele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cs-CZ" b="1" i="0" u="none" strike="noStrike" dirty="0">
                <a:solidFill>
                  <a:schemeClr val="bg1"/>
                </a:solidFill>
                <a:effectLst/>
              </a:rPr>
              <a:t>Sdílená infrastruktura</a:t>
            </a:r>
            <a:r>
              <a:rPr lang="cs-CZ" b="0" i="0" u="none" strike="noStrike" dirty="0">
                <a:solidFill>
                  <a:schemeClr val="bg1"/>
                </a:solidFill>
                <a:effectLst/>
              </a:rPr>
              <a:t>:</a:t>
            </a:r>
          </a:p>
          <a:p>
            <a:pPr marL="429750" lvl="2" indent="-285750">
              <a:buFont typeface="Arial" panose="020B0604020202020204" pitchFamily="34" charset="0"/>
              <a:buChar char="•"/>
            </a:pPr>
            <a:r>
              <a:rPr lang="cs-CZ" b="0" i="0" u="none" strike="noStrike" dirty="0">
                <a:solidFill>
                  <a:schemeClr val="bg1"/>
                </a:solidFill>
                <a:effectLst/>
              </a:rPr>
              <a:t>Zamezení opakované výstavby</a:t>
            </a:r>
          </a:p>
          <a:p>
            <a:pPr marL="429750" lvl="2" indent="-285750">
              <a:buFont typeface="Arial" panose="020B0604020202020204" pitchFamily="34" charset="0"/>
              <a:buChar char="•"/>
            </a:pPr>
            <a:r>
              <a:rPr lang="cs-CZ" b="0" i="0" u="none" strike="noStrike" dirty="0">
                <a:solidFill>
                  <a:schemeClr val="bg1"/>
                </a:solidFill>
                <a:effectLst/>
              </a:rPr>
              <a:t>Svoboda výběru poskytovatele připojení pro obyvatele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cs-CZ" b="1" i="0" u="none" strike="noStrike" dirty="0">
                <a:solidFill>
                  <a:schemeClr val="bg1"/>
                </a:solidFill>
                <a:effectLst/>
              </a:rPr>
              <a:t>Modernizace infrastruktury</a:t>
            </a:r>
            <a:r>
              <a:rPr lang="cs-CZ" b="0" i="0" u="none" strike="noStrike" dirty="0">
                <a:solidFill>
                  <a:schemeClr val="bg1"/>
                </a:solidFill>
                <a:effectLst/>
              </a:rPr>
              <a:t>:</a:t>
            </a:r>
          </a:p>
          <a:p>
            <a:pPr marL="429750" lvl="2" indent="-285750">
              <a:buFont typeface="Arial" panose="020B0604020202020204" pitchFamily="34" charset="0"/>
              <a:buChar char="•"/>
            </a:pPr>
            <a:r>
              <a:rPr lang="cs-CZ" b="0" i="0" u="none" strike="noStrike" dirty="0">
                <a:solidFill>
                  <a:schemeClr val="bg1"/>
                </a:solidFill>
                <a:effectLst/>
              </a:rPr>
              <a:t>Optická síť s životností 60 let</a:t>
            </a:r>
          </a:p>
          <a:p>
            <a:pPr marL="429750" lvl="2" indent="-285750">
              <a:buFont typeface="Arial" panose="020B0604020202020204" pitchFamily="34" charset="0"/>
              <a:buChar char="•"/>
            </a:pPr>
            <a:r>
              <a:rPr lang="cs-CZ" b="0" i="0" u="none" strike="noStrike" dirty="0">
                <a:solidFill>
                  <a:schemeClr val="bg1"/>
                </a:solidFill>
                <a:effectLst/>
              </a:rPr>
              <a:t>Stabilní a rychlé připojení klíčové pro digitalizaci domácností i firem (vyšší kvalita života)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258472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group of men standing next to a computer&#10;&#10;Description automatically generated">
            <a:extLst>
              <a:ext uri="{FF2B5EF4-FFF2-40B4-BE49-F238E27FC236}">
                <a16:creationId xmlns:a16="http://schemas.microsoft.com/office/drawing/2014/main" id="{976F7CEB-EE3A-A7CC-CEEE-FBC04F9702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634999"/>
            <a:ext cx="12192000" cy="812799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BBA6E65-925E-61E8-70EB-245528B296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12294" y="-69237"/>
            <a:ext cx="6048623" cy="1368408"/>
          </a:xfrm>
        </p:spPr>
        <p:txBody>
          <a:bodyPr/>
          <a:lstStyle/>
          <a:p>
            <a:r>
              <a:rPr lang="cs-CZ" sz="3600" b="1" i="0" u="none" strike="noStrike" dirty="0">
                <a:effectLst/>
              </a:rPr>
              <a:t>Příklady úspěšné spolupráce: Česká Lípa a Tanvald</a:t>
            </a:r>
            <a:endParaRPr lang="cs-CZ" sz="3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93F975-2AAA-F1CF-B940-810A800B4B3E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88286" y="2597000"/>
            <a:ext cx="3528000" cy="4896000"/>
          </a:xfrm>
        </p:spPr>
        <p:txBody>
          <a:bodyPr/>
          <a:lstStyle/>
          <a:p>
            <a:pPr algn="l"/>
            <a:r>
              <a:rPr lang="cs-CZ" b="1" i="0" u="none" strike="noStrike" dirty="0">
                <a:solidFill>
                  <a:schemeClr val="bg1"/>
                </a:solidFill>
                <a:effectLst/>
              </a:rPr>
              <a:t>Česká Lípa: </a:t>
            </a:r>
            <a:r>
              <a:rPr lang="cs-CZ" b="1" dirty="0">
                <a:solidFill>
                  <a:schemeClr val="bg1"/>
                </a:solidFill>
              </a:rPr>
              <a:t>s</a:t>
            </a:r>
            <a:r>
              <a:rPr lang="cs-CZ" b="1" i="0" u="none" strike="noStrike" dirty="0">
                <a:solidFill>
                  <a:schemeClr val="bg1"/>
                </a:solidFill>
                <a:effectLst/>
              </a:rPr>
              <a:t>polehlivý internet pro modernizaci vzdělávání (2020–2024)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cs-CZ" b="1" i="0" u="none" strike="noStrike" dirty="0">
                <a:solidFill>
                  <a:schemeClr val="bg1"/>
                </a:solidFill>
                <a:effectLst/>
              </a:rPr>
              <a:t>Přípojky</a:t>
            </a:r>
            <a:r>
              <a:rPr lang="cs-CZ" b="0" i="0" u="none" strike="noStrike" dirty="0">
                <a:solidFill>
                  <a:schemeClr val="bg1"/>
                </a:solidFill>
                <a:effectLst/>
              </a:rPr>
              <a:t>: Aktuálně 5 600 z plánovaných 11 300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cs-CZ" b="1" i="0" u="none" strike="noStrike" dirty="0">
                <a:solidFill>
                  <a:schemeClr val="bg1"/>
                </a:solidFill>
                <a:effectLst/>
              </a:rPr>
              <a:t>Hlavní výhody</a:t>
            </a:r>
            <a:r>
              <a:rPr lang="cs-CZ" b="0" i="0" u="none" strike="noStrike" dirty="0">
                <a:solidFill>
                  <a:schemeClr val="bg1"/>
                </a:solidFill>
                <a:effectLst/>
              </a:rPr>
              <a:t>:</a:t>
            </a:r>
          </a:p>
          <a:p>
            <a:pPr marL="429750" lvl="2" indent="-285750">
              <a:buFont typeface="Arial" panose="020B0604020202020204" pitchFamily="34" charset="0"/>
              <a:buChar char="•"/>
            </a:pPr>
            <a:r>
              <a:rPr lang="cs-CZ" b="0" i="0" u="none" strike="noStrike" dirty="0">
                <a:solidFill>
                  <a:schemeClr val="bg1"/>
                </a:solidFill>
                <a:effectLst/>
              </a:rPr>
              <a:t>Připojení místních škol včetně ZUŠ Arbesova.</a:t>
            </a:r>
          </a:p>
          <a:p>
            <a:pPr marL="429750" lvl="2" indent="-285750">
              <a:buFont typeface="Arial" panose="020B0604020202020204" pitchFamily="34" charset="0"/>
              <a:buChar char="•"/>
            </a:pPr>
            <a:r>
              <a:rPr lang="cs-CZ" b="0" i="0" u="none" strike="noStrike" dirty="0">
                <a:solidFill>
                  <a:schemeClr val="bg1"/>
                </a:solidFill>
                <a:effectLst/>
              </a:rPr>
              <a:t>Rychlý internet umožňuje moderní vzdělávací metod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>
                <a:solidFill>
                  <a:schemeClr val="bg1"/>
                </a:solidFill>
              </a:rPr>
              <a:t>Významná role místní radnice při hledání kompromisů.</a:t>
            </a:r>
          </a:p>
          <a:p>
            <a:pPr marL="429750" lvl="2" indent="-285750">
              <a:buFont typeface="Arial" panose="020B0604020202020204" pitchFamily="34" charset="0"/>
              <a:buChar char="•"/>
            </a:pPr>
            <a:r>
              <a:rPr lang="cs-CZ" dirty="0">
                <a:solidFill>
                  <a:schemeClr val="bg1"/>
                </a:solidFill>
              </a:rPr>
              <a:t>Společné řešení budování přípojek a </a:t>
            </a:r>
            <a:r>
              <a:rPr lang="cs-CZ" dirty="0" err="1">
                <a:solidFill>
                  <a:schemeClr val="bg1"/>
                </a:solidFill>
              </a:rPr>
              <a:t>take</a:t>
            </a:r>
            <a:r>
              <a:rPr lang="cs-CZ" dirty="0">
                <a:solidFill>
                  <a:schemeClr val="bg1"/>
                </a:solidFill>
              </a:rPr>
              <a:t> minimální dopad na obyvatele.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4BB381E4-3E74-196C-0E7C-DB429D6801F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664000" y="1125000"/>
            <a:ext cx="3528000" cy="4896000"/>
          </a:xfrm>
        </p:spPr>
        <p:txBody>
          <a:bodyPr/>
          <a:lstStyle/>
          <a:p>
            <a:pPr algn="l"/>
            <a:r>
              <a:rPr lang="cs-CZ" b="1" i="0" u="none" strike="noStrike" dirty="0">
                <a:solidFill>
                  <a:schemeClr val="bg1"/>
                </a:solidFill>
                <a:effectLst/>
              </a:rPr>
              <a:t>Tanvald: </a:t>
            </a:r>
            <a:r>
              <a:rPr lang="cs-CZ" b="1" dirty="0">
                <a:solidFill>
                  <a:schemeClr val="bg1"/>
                </a:solidFill>
              </a:rPr>
              <a:t>o</a:t>
            </a:r>
            <a:r>
              <a:rPr lang="cs-CZ" b="1" i="0" u="none" strike="noStrike" dirty="0">
                <a:solidFill>
                  <a:schemeClr val="bg1"/>
                </a:solidFill>
                <a:effectLst/>
              </a:rPr>
              <a:t>ptika bez hranic (2020–2024)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cs-CZ" b="1" i="0" u="none" strike="noStrike" dirty="0">
                <a:solidFill>
                  <a:schemeClr val="bg1"/>
                </a:solidFill>
                <a:effectLst/>
              </a:rPr>
              <a:t>Přípojky</a:t>
            </a:r>
            <a:r>
              <a:rPr lang="cs-CZ" dirty="0">
                <a:solidFill>
                  <a:schemeClr val="bg1"/>
                </a:solidFill>
              </a:rPr>
              <a:t>: </a:t>
            </a:r>
            <a:r>
              <a:rPr lang="cs-CZ" b="0" i="0" u="none" strike="noStrike" dirty="0">
                <a:solidFill>
                  <a:schemeClr val="bg1"/>
                </a:solidFill>
                <a:effectLst/>
              </a:rPr>
              <a:t>Aktuálně 1 791 z plánovaných 2 293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cs-CZ" b="1" i="0" u="none" strike="noStrike" dirty="0">
                <a:solidFill>
                  <a:schemeClr val="bg1"/>
                </a:solidFill>
                <a:effectLst/>
              </a:rPr>
              <a:t>Hlavní výhody</a:t>
            </a:r>
            <a:r>
              <a:rPr lang="cs-CZ" b="0" i="0" u="none" strike="noStrike" dirty="0">
                <a:solidFill>
                  <a:schemeClr val="bg1"/>
                </a:solidFill>
                <a:effectLst/>
              </a:rPr>
              <a:t>:</a:t>
            </a:r>
          </a:p>
          <a:p>
            <a:pPr marL="429750" lvl="2" indent="-285750">
              <a:buFont typeface="Arial" panose="020B0604020202020204" pitchFamily="34" charset="0"/>
              <a:buChar char="•"/>
            </a:pPr>
            <a:r>
              <a:rPr lang="cs-CZ" b="0" i="0" u="none" strike="noStrike" dirty="0">
                <a:solidFill>
                  <a:schemeClr val="bg1"/>
                </a:solidFill>
                <a:effectLst/>
              </a:rPr>
              <a:t>Připojení budovy městské policie přes technicky náročnou lokalitu</a:t>
            </a:r>
            <a:r>
              <a:rPr lang="cs-CZ" dirty="0">
                <a:solidFill>
                  <a:schemeClr val="bg1"/>
                </a:solidFill>
              </a:rPr>
              <a:t> – výstavba speciální konstrukce pro překonání řeky Kamenice</a:t>
            </a:r>
            <a:endParaRPr lang="cs-CZ" b="0" i="0" u="none" strike="noStrike" dirty="0">
              <a:solidFill>
                <a:schemeClr val="bg1"/>
              </a:solidFill>
              <a:effectLst/>
            </a:endParaRPr>
          </a:p>
          <a:p>
            <a:pPr marL="429750" lvl="2" indent="-285750">
              <a:buFont typeface="Arial" panose="020B0604020202020204" pitchFamily="34" charset="0"/>
              <a:buChar char="•"/>
            </a:pPr>
            <a:r>
              <a:rPr lang="cs-CZ" b="0" i="0" u="none" strike="noStrike" dirty="0" err="1">
                <a:solidFill>
                  <a:schemeClr val="bg1"/>
                </a:solidFill>
                <a:effectLst/>
              </a:rPr>
              <a:t>Připoložení</a:t>
            </a:r>
            <a:r>
              <a:rPr lang="cs-CZ" b="0" i="0" u="none" strike="noStrike" dirty="0">
                <a:solidFill>
                  <a:schemeClr val="bg1"/>
                </a:solidFill>
                <a:effectLst/>
              </a:rPr>
              <a:t> městské infrastruktury pro provoz metropolitní sítě</a:t>
            </a:r>
            <a:endParaRPr lang="cs-CZ" dirty="0">
              <a:solidFill>
                <a:schemeClr val="bg1"/>
              </a:solidFill>
            </a:endParaRP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cs-CZ" b="0" i="0" u="none" strike="noStrike" dirty="0">
                <a:solidFill>
                  <a:schemeClr val="bg1"/>
                </a:solidFill>
                <a:effectLst/>
              </a:rPr>
              <a:t>Efektivní spolupráce s vedením města a vyjednávání s vlastníky pozemků.</a:t>
            </a:r>
          </a:p>
          <a:p>
            <a:endParaRPr lang="en-CZ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DF0B45-2A67-4A54-AEAD-AC2A65F1CCD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1A5E10D-79A5-49BA-9648-53481340C65F}" type="slidenum">
              <a:rPr lang="cs-CZ" smtClean="0"/>
              <a:pPr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546081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>
              <p:cTn id="2" repeatCount="indefinite" restart="whenNotActive" fill="hold" evtFilter="cancelBubble" nodeType="interactiveSeq">
                <p:stCondLst>
                  <p:cond delay="indefinite"/>
                  <p:cond evt="onBegin" delay="0">
                    <p:tn val="1"/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05582 0.31902" pathEditMode="relative" ptsTypes="AA">
                                      <p:cBhvr>
                                        <p:cTn id="6" dur="3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" presetID="6" presetClass="emp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" dur="30000" fill="hold"/>
                                        <p:tgtEl>
                                          <p:spTgt spid="13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30000"/>
                            </p:stCondLst>
                            <p:childTnLst>
                              <p:par>
                                <p:cTn id="10" presetID="0" presetClass="path" presetSubtype="0" accel="50000" decel="50000" fill="hold" nodeType="afterEffect">
                                  <p:stCondLst>
                                    <p:cond delay="5000"/>
                                  </p:stCondLst>
                                  <p:childTnLst>
                                    <p:animMotion origin="layout" path="M 0.05582 0.31902 L -0.23067 -0.3875" pathEditMode="relative" ptsTypes="AA">
                                      <p:cBhvr>
                                        <p:cTn id="11" dur="3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65000"/>
                            </p:stCondLst>
                            <p:childTnLst>
                              <p:par>
                                <p:cTn id="13" presetID="0" presetClass="path" presetSubtype="0" accel="50000" decel="50000" fill="hold" nodeType="afterEffect">
                                  <p:stCondLst>
                                    <p:cond delay="5000"/>
                                  </p:stCondLst>
                                  <p:childTnLst>
                                    <p:animMotion origin="layout" path="M -0.23067 -0.3875 L 0 0" pathEditMode="relative" ptsTypes="AA">
                                      <p:cBhvr>
                                        <p:cTn id="14" dur="3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5" presetID="6" presetClass="emph" presetSubtype="0" accel="50000" decel="50000" fill="hold" nodeType="withEffect">
                                  <p:stCondLst>
                                    <p:cond delay="5000"/>
                                  </p:stCondLst>
                                  <p:childTnLst>
                                    <p:animScale>
                                      <p:cBhvr>
                                        <p:cTn id="16" dur="30000" fill="hold"/>
                                        <p:tgtEl>
                                          <p:spTgt spid="13"/>
                                        </p:tgtEl>
                                      </p:cBhvr>
                                      <p:by x="150000" y="15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00"/>
                            </p:stCondLst>
                            <p:childTnLst>
                              <p:par>
                                <p:cTn id="18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0" pathEditMode="relative" ptsTypes="AA">
                                      <p:cBhvr>
                                        <p:cTn id="19" dur="5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B13D04-D182-1D3E-C6B5-B2D23DE1F6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group of people shaking hands&#10;&#10;Description automatically generated">
            <a:extLst>
              <a:ext uri="{FF2B5EF4-FFF2-40B4-BE49-F238E27FC236}">
                <a16:creationId xmlns:a16="http://schemas.microsoft.com/office/drawing/2014/main" id="{2CCB86D7-D9F5-CF6F-B00C-FD103C2F0DC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-2" b="58"/>
          <a:stretch/>
        </p:blipFill>
        <p:spPr>
          <a:xfrm>
            <a:off x="0" y="700"/>
            <a:ext cx="12192000" cy="812321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425C755C-43F3-9D04-36DE-1FB14AADB7F0}"/>
              </a:ext>
            </a:extLst>
          </p:cNvPr>
          <p:cNvSpPr/>
          <p:nvPr/>
        </p:nvSpPr>
        <p:spPr>
          <a:xfrm>
            <a:off x="5931202" y="5560207"/>
            <a:ext cx="5722204" cy="1218960"/>
          </a:xfrm>
          <a:prstGeom prst="rect">
            <a:avLst/>
          </a:prstGeom>
          <a:noFill/>
          <a:ln w="28575">
            <a:solidFill>
              <a:schemeClr val="tx2"/>
            </a:solidFill>
          </a:ln>
          <a:effectLst>
            <a:outerShdw blurRad="63500" dist="38100" dir="270000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/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138285AC-551B-4DED-BDD3-20A496AE4C7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25847" y="3219691"/>
            <a:ext cx="6414709" cy="1403298"/>
          </a:xfrm>
        </p:spPr>
        <p:txBody>
          <a:bodyPr vert="horz" lIns="0" tIns="0" rIns="0" bIns="0" rtlCol="0" anchor="t">
            <a:noAutofit/>
          </a:bodyPr>
          <a:lstStyle/>
          <a:p>
            <a:pPr algn="l"/>
            <a:r>
              <a:rPr lang="cs-CZ" b="1" dirty="0">
                <a:solidFill>
                  <a:schemeClr val="bg1"/>
                </a:solidFill>
                <a:latin typeface="Arial"/>
                <a:cs typeface="Arial"/>
              </a:rPr>
              <a:t>Spolufinancovaný nízkonákladový vysílač mobilního pokrytí (BTS), který umožní obcím rozšíření mobilního pokrytí v méně osídlených lokalitách. Tento projekt přinese signál 5G do míst, kde by běžná výstavba nebyla ekonomicky rentabilní.</a:t>
            </a:r>
            <a:endParaRPr lang="en-US" b="1" dirty="0">
              <a:solidFill>
                <a:schemeClr val="bg1"/>
              </a:solidFill>
              <a:latin typeface="Arial"/>
              <a:cs typeface="Arial"/>
            </a:endParaRPr>
          </a:p>
          <a:p>
            <a:pPr algn="l">
              <a:buClr>
                <a:srgbClr val="007EAC"/>
              </a:buClr>
              <a:buSzPct val="110000"/>
            </a:pPr>
            <a:endParaRPr lang="cs-CZ" sz="7200" i="1" dirty="0">
              <a:latin typeface="Arial"/>
              <a:cs typeface="Arial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B7BA41CD-3DD6-E411-72AF-F3CC34712E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8522" y="4805"/>
            <a:ext cx="11223057" cy="1011264"/>
          </a:xfrm>
        </p:spPr>
        <p:txBody>
          <a:bodyPr anchor="t">
            <a:noAutofit/>
          </a:bodyPr>
          <a:lstStyle/>
          <a:p>
            <a:pPr algn="l">
              <a:lnSpc>
                <a:spcPct val="150000"/>
              </a:lnSpc>
            </a:pPr>
            <a:r>
              <a:rPr lang="cs-CZ" sz="4400" b="1">
                <a:latin typeface="Arial"/>
                <a:cs typeface="Arial"/>
              </a:rPr>
              <a:t>Připravujeme novinku pro obce</a:t>
            </a:r>
            <a:br>
              <a:rPr lang="cs-CZ" sz="4400" b="1" dirty="0">
                <a:latin typeface="Arial"/>
                <a:cs typeface="Arial"/>
              </a:rPr>
            </a:br>
            <a:r>
              <a:rPr lang="cs-CZ" sz="3600" b="1">
                <a:latin typeface="Arial"/>
                <a:cs typeface="Arial"/>
              </a:rPr>
              <a:t>Nízkonákladové mobilní pokrytí </a:t>
            </a:r>
            <a:endParaRPr lang="en-US"/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31A26DC3-8E2C-FCB4-2DD0-1E9894CE8A50}"/>
              </a:ext>
            </a:extLst>
          </p:cNvPr>
          <p:cNvSpPr txBox="1"/>
          <p:nvPr/>
        </p:nvSpPr>
        <p:spPr>
          <a:xfrm>
            <a:off x="6085362" y="5751793"/>
            <a:ext cx="5777130" cy="96180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lnSpc>
                <a:spcPts val="2100"/>
              </a:lnSpc>
            </a:pPr>
            <a:r>
              <a:rPr lang="cs-CZ" sz="2000" b="1" dirty="0">
                <a:solidFill>
                  <a:schemeClr val="bg1"/>
                </a:solidFill>
                <a:latin typeface="Arial"/>
                <a:cs typeface="Arial"/>
              </a:rPr>
              <a:t>Máte zájem se přihlásit do pilotního projektu?</a:t>
            </a:r>
          </a:p>
          <a:p>
            <a:pPr>
              <a:lnSpc>
                <a:spcPts val="2100"/>
              </a:lnSpc>
            </a:pPr>
            <a:endParaRPr lang="cs-CZ" sz="2000" b="1" dirty="0">
              <a:solidFill>
                <a:schemeClr val="bg1"/>
              </a:solidFill>
              <a:latin typeface="Arial"/>
              <a:cs typeface="Arial"/>
            </a:endParaRPr>
          </a:p>
          <a:p>
            <a:pPr marL="342900" indent="-342900">
              <a:lnSpc>
                <a:spcPts val="2100"/>
              </a:lnSpc>
              <a:buFont typeface="Wingdings"/>
              <a:buChar char="§"/>
            </a:pPr>
            <a:r>
              <a:rPr lang="cs-CZ" sz="2000" b="1" dirty="0">
                <a:solidFill>
                  <a:schemeClr val="bg1"/>
                </a:solidFill>
                <a:latin typeface="Arial"/>
                <a:cs typeface="Arial"/>
              </a:rPr>
              <a:t>Navštivte nás na našem T-Mobile stánku</a:t>
            </a:r>
            <a:r>
              <a:rPr lang="cs-CZ" sz="2000" b="1" dirty="0">
                <a:latin typeface="Arial"/>
                <a:cs typeface="Arial"/>
              </a:rPr>
              <a:t> </a:t>
            </a:r>
            <a:endParaRPr lang="cs-CZ" sz="2000" dirty="0"/>
          </a:p>
          <a:p>
            <a:pPr algn="r"/>
            <a:endParaRPr lang="cs-CZ" sz="1000" dirty="0">
              <a:latin typeface="Arial Narrow" panose="020B0604020202020204" pitchFamily="34" charset="0"/>
              <a:ea typeface="Calibri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31405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24922 0.43549" pathEditMode="relative" ptsTypes="AA">
                                      <p:cBhvr>
                                        <p:cTn id="6" dur="3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" presetID="6" presetClass="emp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" dur="30000" fill="hold"/>
                                        <p:tgtEl>
                                          <p:spTgt spid="8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30000"/>
                            </p:stCondLst>
                            <p:childTnLst>
                              <p:par>
                                <p:cTn id="10" presetID="0" presetClass="path" presetSubtype="0" accel="50000" decel="50000" fill="hold" nodeType="afterEffect">
                                  <p:stCondLst>
                                    <p:cond delay="5000"/>
                                  </p:stCondLst>
                                  <p:childTnLst>
                                    <p:animMotion origin="layout" path="M 0.24922 0.43549 L -0.07868 -0.5036" pathEditMode="relative" ptsTypes="AA">
                                      <p:cBhvr>
                                        <p:cTn id="11" dur="3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65000"/>
                            </p:stCondLst>
                            <p:childTnLst>
                              <p:par>
                                <p:cTn id="13" presetID="0" presetClass="path" presetSubtype="0" accel="50000" decel="50000" fill="hold" nodeType="afterEffect">
                                  <p:stCondLst>
                                    <p:cond delay="5000"/>
                                  </p:stCondLst>
                                  <p:childTnLst>
                                    <p:animMotion origin="layout" path="M -0.07868 -0.5036 L 0 0" pathEditMode="relative" ptsTypes="AA">
                                      <p:cBhvr>
                                        <p:cTn id="14" dur="3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5" presetID="6" presetClass="emph" presetSubtype="0" accel="50000" decel="50000" fill="hold" nodeType="withEffect">
                                  <p:stCondLst>
                                    <p:cond delay="5000"/>
                                  </p:stCondLst>
                                  <p:childTnLst>
                                    <p:animScale>
                                      <p:cBhvr>
                                        <p:cTn id="16" dur="30000" fill="hold"/>
                                        <p:tgtEl>
                                          <p:spTgt spid="8"/>
                                        </p:tgtEl>
                                      </p:cBhvr>
                                      <p:by x="150000" y="15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00"/>
                            </p:stCondLst>
                            <p:childTnLst>
                              <p:par>
                                <p:cTn id="18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0" pathEditMode="relative" ptsTypes="AA">
                                      <p:cBhvr>
                                        <p:cTn id="19" dur="5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F9B54699-59F8-D937-A42A-6EFDEB69E8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square" anchor="t">
            <a:normAutofit/>
          </a:bodyPr>
          <a:lstStyle/>
          <a:p>
            <a:r>
              <a:rPr lang="cs-CZ" sz="3400" b="1" dirty="0"/>
              <a:t>Nový Big data portál</a:t>
            </a:r>
          </a:p>
        </p:txBody>
      </p:sp>
      <p:sp>
        <p:nvSpPr>
          <p:cNvPr id="10" name="Podnadpis 2">
            <a:extLst>
              <a:ext uri="{FF2B5EF4-FFF2-40B4-BE49-F238E27FC236}">
                <a16:creationId xmlns:a16="http://schemas.microsoft.com/office/drawing/2014/main" id="{4618531D-43AA-30F1-2615-631BC5CFAE1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2308" y="1268697"/>
            <a:ext cx="5953200" cy="4320606"/>
          </a:xfrm>
        </p:spPr>
        <p:txBody>
          <a:bodyPr wrap="square">
            <a:normAutofit fontScale="85000" lnSpcReduction="20000"/>
          </a:bodyPr>
          <a:lstStyle/>
          <a:p>
            <a:pPr marL="457200" indent="-4572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cs-CZ" sz="2000" dirty="0"/>
              <a:t>produkt pro měření mobility a přítomnosti obyvatelstva na základě anonymizovaných údajů o pohybu SIM v mobilní síti</a:t>
            </a:r>
            <a:br>
              <a:rPr lang="cs-CZ" sz="2000" dirty="0"/>
            </a:br>
            <a:endParaRPr lang="cs-CZ" sz="2000" dirty="0"/>
          </a:p>
          <a:p>
            <a:pPr marL="457200" indent="-4572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cs-CZ" sz="2000" dirty="0"/>
              <a:t>podrobné informace o vzorcích chování turistů a návštěvníků vybraných lokalit včetně informací o tom, odkud přijíždějí, kolik času v jednotlivých turistických lokalitách tráví, hustotě a časovém průběhu návštěv, atraktivitě cílů atd.</a:t>
            </a:r>
            <a:br>
              <a:rPr lang="cs-CZ" sz="2000" dirty="0"/>
            </a:br>
            <a:endParaRPr lang="cs-CZ" sz="2000" dirty="0"/>
          </a:p>
          <a:p>
            <a:pPr marL="457200" indent="-4572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cs-CZ" sz="2000" dirty="0"/>
              <a:t>přecházíme ze statických prezentací do online aplikace</a:t>
            </a:r>
          </a:p>
          <a:p>
            <a:pPr>
              <a:lnSpc>
                <a:spcPct val="90000"/>
              </a:lnSpc>
            </a:pPr>
            <a:endParaRPr lang="cs-CZ" sz="2000" dirty="0"/>
          </a:p>
          <a:p>
            <a:pPr marL="457200" indent="-4572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cs-CZ" sz="2000" dirty="0"/>
              <a:t>určeno pro veřejný sektor a všechny komerční společnosti, které potřebují vědět, kde se pohybují jejich potenciální či stávající zákazníci</a:t>
            </a:r>
          </a:p>
          <a:p>
            <a:pPr marL="457200" indent="-4572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cs-CZ" sz="2000" dirty="0"/>
          </a:p>
          <a:p>
            <a:pPr marL="457200" indent="-4572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cs-CZ" sz="2000" dirty="0"/>
              <a:t>městům a obcím pomáháme s rozhodováním na základě dat buď jednorázovými analýzami nebo pravidelnými měsíčními dodávkami dat</a:t>
            </a:r>
          </a:p>
          <a:p>
            <a:pPr marL="457200" indent="-4572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cs-CZ" sz="1700" dirty="0"/>
          </a:p>
          <a:p>
            <a:pPr marL="457200" indent="-4572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cs-CZ" sz="1700" dirty="0"/>
          </a:p>
          <a:p>
            <a:pPr>
              <a:lnSpc>
                <a:spcPct val="90000"/>
              </a:lnSpc>
            </a:pPr>
            <a:endParaRPr lang="cs-CZ" sz="1700" dirty="0"/>
          </a:p>
          <a:p>
            <a:pPr marL="457200" indent="-4572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cs-CZ" sz="1700" dirty="0"/>
          </a:p>
          <a:p>
            <a:pPr>
              <a:lnSpc>
                <a:spcPct val="90000"/>
              </a:lnSpc>
            </a:pPr>
            <a:endParaRPr lang="cs-CZ" sz="1700" dirty="0"/>
          </a:p>
          <a:p>
            <a:pPr marL="457200" indent="-4572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cs-CZ" sz="1700" dirty="0"/>
          </a:p>
        </p:txBody>
      </p:sp>
      <p:pic>
        <p:nvPicPr>
          <p:cNvPr id="4" name="Obrázek 3" descr="Obsah obrázku text, snímek obrazovky, mapa&#10;&#10;Popis byl vytvořen automaticky">
            <a:extLst>
              <a:ext uri="{FF2B5EF4-FFF2-40B4-BE49-F238E27FC236}">
                <a16:creationId xmlns:a16="http://schemas.microsoft.com/office/drawing/2014/main" id="{DABA391A-82E4-D316-EA33-6692A2EE550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4766" y="2324451"/>
            <a:ext cx="5953200" cy="365667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9209302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D6C1E5-4209-98AF-6807-D064F48BB6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A group of people shaking hands&#10;&#10;Description automatically generated">
            <a:extLst>
              <a:ext uri="{FF2B5EF4-FFF2-40B4-BE49-F238E27FC236}">
                <a16:creationId xmlns:a16="http://schemas.microsoft.com/office/drawing/2014/main" id="{84B20921-A4A6-45E2-CD0D-DF1A3649437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-2" b="58"/>
          <a:stretch/>
        </p:blipFill>
        <p:spPr>
          <a:xfrm>
            <a:off x="0" y="700"/>
            <a:ext cx="12192000" cy="8123211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2EE5C2-04E7-1FC8-E146-2989B54F3DA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A1A5E10D-79A5-49BA-9648-53481340C65F}" type="slidenum">
              <a:rPr lang="cs-CZ" smtClean="0"/>
              <a:pPr/>
              <a:t>7</a:t>
            </a:fld>
            <a:endParaRPr lang="cs-CZ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5AD9638-0FD8-82FB-B7CE-BC40237D1BAA}"/>
              </a:ext>
            </a:extLst>
          </p:cNvPr>
          <p:cNvSpPr txBox="1"/>
          <p:nvPr/>
        </p:nvSpPr>
        <p:spPr>
          <a:xfrm>
            <a:off x="7926859" y="5599670"/>
            <a:ext cx="3155091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buClr>
                <a:schemeClr val="tx2"/>
              </a:buClr>
              <a:buSzPct val="100000"/>
            </a:pPr>
            <a:r>
              <a:rPr lang="cs-CZ" sz="2400" b="1" dirty="0">
                <a:solidFill>
                  <a:srgbClr val="FFFFFF"/>
                </a:solidFill>
                <a:latin typeface="Arial"/>
                <a:cs typeface="Arial"/>
              </a:rPr>
              <a:t>Děkuji za pozornost</a:t>
            </a:r>
          </a:p>
        </p:txBody>
      </p:sp>
    </p:spTree>
    <p:extLst>
      <p:ext uri="{BB962C8B-B14F-4D97-AF65-F5344CB8AC3E}">
        <p14:creationId xmlns:p14="http://schemas.microsoft.com/office/powerpoint/2010/main" val="13482484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>
              <p:cTn id="2" repeatCount="indefinite" restart="whenNotActive" fill="hold" evtFilter="cancelBubble" nodeType="interactiveSeq">
                <p:stCondLst>
                  <p:cond delay="indefinite"/>
                  <p:cond evt="onBegin" delay="0">
                    <p:tn val="1"/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24922 0.43549" pathEditMode="relative" ptsTypes="AA">
                                      <p:cBhvr>
                                        <p:cTn id="6" dur="30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" presetID="6" presetClass="emp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" dur="30000" fill="hold"/>
                                        <p:tgtEl>
                                          <p:spTgt spid="22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30000"/>
                            </p:stCondLst>
                            <p:childTnLst>
                              <p:par>
                                <p:cTn id="10" presetID="0" presetClass="path" presetSubtype="0" accel="50000" decel="50000" fill="hold" nodeType="afterEffect">
                                  <p:stCondLst>
                                    <p:cond delay="5000"/>
                                  </p:stCondLst>
                                  <p:childTnLst>
                                    <p:animMotion origin="layout" path="M 0.24922 0.43549 L -0.07868 -0.5036" pathEditMode="relative" ptsTypes="AA">
                                      <p:cBhvr>
                                        <p:cTn id="11" dur="30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65000"/>
                            </p:stCondLst>
                            <p:childTnLst>
                              <p:par>
                                <p:cTn id="13" presetID="0" presetClass="path" presetSubtype="0" accel="50000" decel="50000" fill="hold" nodeType="afterEffect">
                                  <p:stCondLst>
                                    <p:cond delay="5000"/>
                                  </p:stCondLst>
                                  <p:childTnLst>
                                    <p:animMotion origin="layout" path="M -0.07868 -0.5036 L 0 0" pathEditMode="relative" ptsTypes="AA">
                                      <p:cBhvr>
                                        <p:cTn id="14" dur="30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5" presetID="6" presetClass="emph" presetSubtype="0" accel="50000" decel="50000" fill="hold" nodeType="withEffect">
                                  <p:stCondLst>
                                    <p:cond delay="5000"/>
                                  </p:stCondLst>
                                  <p:childTnLst>
                                    <p:animScale>
                                      <p:cBhvr>
                                        <p:cTn id="16" dur="30000" fill="hold"/>
                                        <p:tgtEl>
                                          <p:spTgt spid="22"/>
                                        </p:tgtEl>
                                      </p:cBhvr>
                                      <p:by x="150000" y="15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00"/>
                            </p:stCondLst>
                            <p:childTnLst>
                              <p:par>
                                <p:cTn id="18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0" pathEditMode="relative" ptsTypes="AA">
                                      <p:cBhvr>
                                        <p:cTn id="19" dur="5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lekom – Angle (06/2021) EN">
  <a:themeElements>
    <a:clrScheme name="Telekom Liquid Master">
      <a:dk1>
        <a:sysClr val="windowText" lastClr="000000"/>
      </a:dk1>
      <a:lt1>
        <a:sysClr val="window" lastClr="FFFFFF"/>
      </a:lt1>
      <a:dk2>
        <a:srgbClr val="E20074"/>
      </a:dk2>
      <a:lt2>
        <a:srgbClr val="A3A3A3"/>
      </a:lt2>
      <a:accent1>
        <a:srgbClr val="32B9AF"/>
      </a:accent1>
      <a:accent2>
        <a:srgbClr val="A4DEEE"/>
      </a:accent2>
      <a:accent3>
        <a:srgbClr val="ECCCBF"/>
      </a:accent3>
      <a:accent4>
        <a:srgbClr val="F0E68C"/>
      </a:accent4>
      <a:accent5>
        <a:srgbClr val="00A8E6"/>
      </a:accent5>
      <a:accent6>
        <a:srgbClr val="6E648C"/>
      </a:accent6>
      <a:hlink>
        <a:srgbClr val="00739F"/>
      </a:hlink>
      <a:folHlink>
        <a:srgbClr val="00739F"/>
      </a:folHlink>
    </a:clrScheme>
    <a:fontScheme name="Deutsche Telekom Liquid Master">
      <a:majorFont>
        <a:latin typeface="TeleNeo Office ExtraBold"/>
        <a:ea typeface=""/>
        <a:cs typeface=""/>
      </a:majorFont>
      <a:minorFont>
        <a:latin typeface="TeleNeo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>
          <a:noFill/>
        </a:ln>
      </a:spPr>
      <a:bodyPr lIns="72000" tIns="72000" rIns="72000" bIns="72000"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44000" indent="-144000" algn="l">
          <a:buClr>
            <a:schemeClr val="tx2"/>
          </a:buClr>
          <a:buSzPct val="100000"/>
          <a:buFont typeface="TeleNeo Office" panose="020B0504040202090203" pitchFamily="34" charset="0"/>
          <a:buChar char="•"/>
          <a:defRPr smtClean="0"/>
        </a:defPPr>
      </a:lstStyle>
    </a:txDef>
  </a:objectDefaults>
  <a:extraClrSchemeLst/>
  <a:custClrLst>
    <a:custClr name="Smaragd">
      <a:srgbClr val="078C82"/>
    </a:custClr>
    <a:custClr name="Ozean">
      <a:srgbClr val="5AB4C8"/>
    </a:custClr>
    <a:custClr name="Cappuccino">
      <a:srgbClr val="BD968C"/>
    </a:custClr>
    <a:custClr name="Curry">
      <a:srgbClr val="C8B45A"/>
    </a:custClr>
    <a:custClr name="Jeans">
      <a:srgbClr val="0478BE"/>
    </a:custClr>
    <a:custClr name="Aubergine">
      <a:srgbClr val="3C325A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Mint">
      <a:srgbClr val="86CBC4"/>
    </a:custClr>
    <a:custClr name="Himmel">
      <a:srgbClr val="CBE8F4"/>
    </a:custClr>
    <a:custClr name="Pfirsich">
      <a:srgbClr val="FAE2D8"/>
    </a:custClr>
    <a:custClr name="Vanille">
      <a:srgbClr val="F5EBAF"/>
    </a:custClr>
    <a:custClr name="Azur">
      <a:srgbClr val="45C1F1"/>
    </a:custClr>
    <a:custClr name="Flieder">
      <a:srgbClr val="9C9BB9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Grau 38">
      <a:srgbClr val="262626"/>
    </a:custClr>
    <a:custClr name="Grau 75">
      <a:srgbClr val="4B4B4B"/>
    </a:custClr>
    <a:custClr name="Grau 115">
      <a:srgbClr val="737373"/>
    </a:custClr>
    <a:custClr name="Grau 178">
      <a:srgbClr val="B2B2B2"/>
    </a:custClr>
    <a:custClr name="Grau 220">
      <a:srgbClr val="DCDCDC"/>
    </a:custClr>
    <a:custClr name="Leer">
      <a:srgbClr val="FFFFFF"/>
    </a:custClr>
    <a:custClr name="Leer">
      <a:srgbClr val="FFFFFF"/>
    </a:custClr>
    <a:custClr name="Rot">
      <a:srgbClr val="D90000"/>
    </a:custClr>
    <a:custClr name="Gelb">
      <a:srgbClr val="FECB00"/>
    </a:custClr>
    <a:custClr name="Grün">
      <a:srgbClr val="46A800"/>
    </a:custClr>
  </a:custClrLst>
  <a:extLst>
    <a:ext uri="{05A4C25C-085E-4340-85A3-A5531E510DB2}">
      <thm15:themeFamily xmlns:thm15="http://schemas.microsoft.com/office/thememl/2012/main" name="Telekom_Master_Angle_Shape_022122_EN_V01.potx" id="{2168C2DE-E3A3-4FF9-9CC8-9026361AF137}" vid="{CCF0060F-1119-4963-994F-081CFA1A5451}"/>
    </a:ext>
  </a:extLst>
</a:theme>
</file>

<file path=ppt/theme/theme2.xml><?xml version="1.0" encoding="utf-8"?>
<a:theme xmlns:a="http://schemas.openxmlformats.org/drawingml/2006/main" name="Office">
  <a:themeElements>
    <a:clrScheme name="Telekom Liquid Master">
      <a:dk1>
        <a:sysClr val="windowText" lastClr="000000"/>
      </a:dk1>
      <a:lt1>
        <a:sysClr val="window" lastClr="FFFFFF"/>
      </a:lt1>
      <a:dk2>
        <a:srgbClr val="E20074"/>
      </a:dk2>
      <a:lt2>
        <a:srgbClr val="A3A3A3"/>
      </a:lt2>
      <a:accent1>
        <a:srgbClr val="32B9AF"/>
      </a:accent1>
      <a:accent2>
        <a:srgbClr val="A4DEEE"/>
      </a:accent2>
      <a:accent3>
        <a:srgbClr val="ECCCBF"/>
      </a:accent3>
      <a:accent4>
        <a:srgbClr val="F0E68C"/>
      </a:accent4>
      <a:accent5>
        <a:srgbClr val="00A8E6"/>
      </a:accent5>
      <a:accent6>
        <a:srgbClr val="6E648C"/>
      </a:accent6>
      <a:hlink>
        <a:srgbClr val="00739F"/>
      </a:hlink>
      <a:folHlink>
        <a:srgbClr val="00739F"/>
      </a:folHlink>
    </a:clrScheme>
    <a:fontScheme name="Deutsche Telekom Liquid Master">
      <a:majorFont>
        <a:latin typeface="TeleNeo Office ExtraBold"/>
        <a:ea typeface=""/>
        <a:cs typeface=""/>
      </a:majorFont>
      <a:minorFont>
        <a:latin typeface="TeleNeo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0" tIns="0" rIns="0" bIns="0"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44000" indent="-144000" algn="l">
          <a:buClr>
            <a:schemeClr val="tx2"/>
          </a:buClr>
          <a:buSzPct val="100000"/>
          <a:buFont typeface="TeleNeo Office" panose="020B0504040202090203" pitchFamily="34" charset="0"/>
          <a:buChar char="•"/>
          <a:defRPr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Telekom Liquid Master">
      <a:dk1>
        <a:sysClr val="windowText" lastClr="000000"/>
      </a:dk1>
      <a:lt1>
        <a:sysClr val="window" lastClr="FFFFFF"/>
      </a:lt1>
      <a:dk2>
        <a:srgbClr val="E20074"/>
      </a:dk2>
      <a:lt2>
        <a:srgbClr val="A3A3A3"/>
      </a:lt2>
      <a:accent1>
        <a:srgbClr val="32B9AF"/>
      </a:accent1>
      <a:accent2>
        <a:srgbClr val="A4DEEE"/>
      </a:accent2>
      <a:accent3>
        <a:srgbClr val="ECCCBF"/>
      </a:accent3>
      <a:accent4>
        <a:srgbClr val="F0E68C"/>
      </a:accent4>
      <a:accent5>
        <a:srgbClr val="00A8E6"/>
      </a:accent5>
      <a:accent6>
        <a:srgbClr val="6E648C"/>
      </a:accent6>
      <a:hlink>
        <a:srgbClr val="00739F"/>
      </a:hlink>
      <a:folHlink>
        <a:srgbClr val="00739F"/>
      </a:folHlink>
    </a:clrScheme>
    <a:fontScheme name="Deutsche Telekom Liquid Master">
      <a:majorFont>
        <a:latin typeface="TeleNeo Office ExtraBold"/>
        <a:ea typeface=""/>
        <a:cs typeface=""/>
      </a:majorFont>
      <a:minorFont>
        <a:latin typeface="TeleNeo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0" tIns="0" rIns="0" bIns="0"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44000" indent="-144000" algn="l">
          <a:buClr>
            <a:schemeClr val="tx2"/>
          </a:buClr>
          <a:buSzPct val="100000"/>
          <a:buFont typeface="TeleNeo Office" panose="020B0504040202090203" pitchFamily="34" charset="0"/>
          <a:buChar char="•"/>
          <a:defRPr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1d4edba-4510-4842-8ac5-6421d17f9d88" xsi:nil="true"/>
    <lcf76f155ced4ddcb4097134ff3c332f xmlns="f0344b2a-ebb0-4405-80ef-03e828f2e051">
      <Terms xmlns="http://schemas.microsoft.com/office/infopath/2007/PartnerControls"/>
    </lcf76f155ced4ddcb4097134ff3c332f>
    <Datum xmlns="f0344b2a-ebb0-4405-80ef-03e828f2e05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D7178CE1C59E6844A21D0B5770256CEE" ma:contentTypeVersion="23" ma:contentTypeDescription="Vytvoří nový dokument" ma:contentTypeScope="" ma:versionID="a43af1b0ce8cccc7d042c79ee1140ef5">
  <xsd:schema xmlns:xsd="http://www.w3.org/2001/XMLSchema" xmlns:xs="http://www.w3.org/2001/XMLSchema" xmlns:p="http://schemas.microsoft.com/office/2006/metadata/properties" xmlns:ns2="f0344b2a-ebb0-4405-80ef-03e828f2e051" xmlns:ns3="11d4edba-4510-4842-8ac5-6421d17f9d88" targetNamespace="http://schemas.microsoft.com/office/2006/metadata/properties" ma:root="true" ma:fieldsID="1cf82933bf2dfcc5389f536b2860cfbc" ns2:_="" ns3:_="">
    <xsd:import namespace="f0344b2a-ebb0-4405-80ef-03e828f2e051"/>
    <xsd:import namespace="11d4edba-4510-4842-8ac5-6421d17f9d8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2:MediaServiceLocation" minOccurs="0"/>
                <xsd:element ref="ns3:SharedWithUsers" minOccurs="0"/>
                <xsd:element ref="ns3:SharedWithDetails" minOccurs="0"/>
                <xsd:element ref="ns3:TaxCatchAll" minOccurs="0"/>
                <xsd:element ref="ns2:lcf76f155ced4ddcb4097134ff3c332f" minOccurs="0"/>
                <xsd:element ref="ns2:MediaServiceObjectDetectorVersions" minOccurs="0"/>
                <xsd:element ref="ns2:Datum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0344b2a-ebb0-4405-80ef-03e828f2e05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3" nillable="true" ma:taxonomy="true" ma:internalName="lcf76f155ced4ddcb4097134ff3c332f" ma:taxonomyFieldName="MediaServiceImageTags" ma:displayName="Značky obrázků" ma:readOnly="false" ma:fieldId="{5cf76f15-5ced-4ddc-b409-7134ff3c332f}" ma:taxonomyMulti="true" ma:sspId="e9ecb780-25a8-4441-a56d-d0024799747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Datum" ma:index="25" nillable="true" ma:displayName="Datum" ma:format="DateOnly" ma:internalName="Datum">
      <xsd:simpleType>
        <xsd:restriction base="dms:DateTime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1d4edba-4510-4842-8ac5-6421d17f9d88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Sdílí se s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dílené s podrobnostmi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3c59983a-0c04-4151-ad47-958e4737b4ca}" ma:internalName="TaxCatchAll" ma:showField="CatchAllData" ma:web="11d4edba-4510-4842-8ac5-6421d17f9d8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obsahu"/>
        <xsd:element ref="dc:title" minOccurs="0" maxOccurs="1" ma:index="4" ma:displayName="Nadpis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4DE43E1-4D62-498D-B1BE-B2047D33EAE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465B26F-FAFA-482A-8413-7E046BEB933B}">
  <ds:schemaRefs>
    <ds:schemaRef ds:uri="http://purl.org/dc/elements/1.1/"/>
    <ds:schemaRef ds:uri="http://schemas.openxmlformats.org/package/2006/metadata/core-properties"/>
    <ds:schemaRef ds:uri="f0344b2a-ebb0-4405-80ef-03e828f2e051"/>
    <ds:schemaRef ds:uri="http://schemas.microsoft.com/office/2006/metadata/properties"/>
    <ds:schemaRef ds:uri="http://purl.org/dc/terms/"/>
    <ds:schemaRef ds:uri="http://www.w3.org/XML/1998/namespace"/>
    <ds:schemaRef ds:uri="http://schemas.microsoft.com/office/2006/documentManagement/types"/>
    <ds:schemaRef ds:uri="http://schemas.microsoft.com/office/infopath/2007/PartnerControls"/>
    <ds:schemaRef ds:uri="11d4edba-4510-4842-8ac5-6421d17f9d88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3857636D-A567-48B0-A643-740FB78FD43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0344b2a-ebb0-4405-80ef-03e828f2e051"/>
    <ds:schemaRef ds:uri="11d4edba-4510-4842-8ac5-6421d17f9d8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e3e41b38-373c-4b3a-9137-5c0b023d0bef}" enabled="1" method="Standard" siteId="{b213b057-1008-4204-8c53-8147bc602a29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2021) EN</Template>
  <TotalTime>110</TotalTime>
  <Words>574</Words>
  <Application>Microsoft Office PowerPoint</Application>
  <PresentationFormat>Širokoúhlá obrazovka</PresentationFormat>
  <Paragraphs>70</Paragraphs>
  <Slides>7</Slides>
  <Notes>1</Notes>
  <HiddenSlides>0</HiddenSlides>
  <MMClips>0</MMClips>
  <ScaleCrop>false</ScaleCrop>
  <HeadingPairs>
    <vt:vector size="8" baseType="variant">
      <vt:variant>
        <vt:lpstr>Použitá písma</vt:lpstr>
      </vt:variant>
      <vt:variant>
        <vt:i4>6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7</vt:i4>
      </vt:variant>
    </vt:vector>
  </HeadingPairs>
  <TitlesOfParts>
    <vt:vector size="15" baseType="lpstr">
      <vt:lpstr>Arial</vt:lpstr>
      <vt:lpstr>Arial Narrow</vt:lpstr>
      <vt:lpstr>TeleNeo Office</vt:lpstr>
      <vt:lpstr>TeleNeo Office ExtraBold</vt:lpstr>
      <vt:lpstr>Wingdings</vt:lpstr>
      <vt:lpstr>Wingdings,Sans-Serif</vt:lpstr>
      <vt:lpstr>Telekom – Angle (06/2021) EN</vt:lpstr>
      <vt:lpstr>think-cell Slide</vt:lpstr>
      <vt:lpstr>Zkušenosti s digitální infrastrukturou  Krajské setkání Jihlava 13.3. </vt:lpstr>
      <vt:lpstr>Nároky na digitální infrastrukturu  neustále prudce rostou </vt:lpstr>
      <vt:lpstr>Při budování infrastruktury vycházíme obcím vstříc</vt:lpstr>
      <vt:lpstr>Příklady úspěšné spolupráce: Česká Lípa a Tanvald</vt:lpstr>
      <vt:lpstr>Připravujeme novinku pro obce Nízkonákladové mobilní pokrytí </vt:lpstr>
      <vt:lpstr>Nový Big data portál</vt:lpstr>
      <vt:lpstr>Prezentace aplikac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lexander Mareček | FYI Prague</dc:creator>
  <dc:description>Optimized for Office 365</dc:description>
  <cp:lastModifiedBy>Magdalena</cp:lastModifiedBy>
  <cp:revision>213</cp:revision>
  <cp:lastPrinted>2020-08-27T09:01:38Z</cp:lastPrinted>
  <dcterms:created xsi:type="dcterms:W3CDTF">2024-11-22T11:56:02Z</dcterms:created>
  <dcterms:modified xsi:type="dcterms:W3CDTF">2025-03-18T16:27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178CE1C59E6844A21D0B5770256CEE</vt:lpwstr>
  </property>
</Properties>
</file>